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png" ContentType="image/png"/>
  <Default Extension="jpg" ContentType="image/jpeg"/>
  <Default Extension="emf" ContentType="image/x-emf"/>
  <Default Extension="rels" ContentType="application/vnd.openxmlformats-package.relationships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</p:sldMasterIdLst>
  <p:notesMasterIdLst>
    <p:notesMasterId r:id="rId30"/>
  </p:notesMasterIdLst>
  <p:handoutMasterIdLst>
    <p:handoutMasterId r:id="rId31"/>
  </p:handoutMasterIdLst>
  <p:sldIdLst>
    <p:sldId id="408" r:id="rId5"/>
    <p:sldId id="643" r:id="rId6"/>
    <p:sldId id="621" r:id="rId7"/>
    <p:sldId id="644" r:id="rId8"/>
    <p:sldId id="618" r:id="rId9"/>
    <p:sldId id="645" r:id="rId10"/>
    <p:sldId id="619" r:id="rId11"/>
    <p:sldId id="622" r:id="rId12"/>
    <p:sldId id="623" r:id="rId13"/>
    <p:sldId id="625" r:id="rId14"/>
    <p:sldId id="626" r:id="rId15"/>
    <p:sldId id="627" r:id="rId16"/>
    <p:sldId id="632" r:id="rId17"/>
    <p:sldId id="633" r:id="rId18"/>
    <p:sldId id="634" r:id="rId19"/>
    <p:sldId id="635" r:id="rId20"/>
    <p:sldId id="636" r:id="rId21"/>
    <p:sldId id="637" r:id="rId22"/>
    <p:sldId id="638" r:id="rId23"/>
    <p:sldId id="639" r:id="rId24"/>
    <p:sldId id="640" r:id="rId25"/>
    <p:sldId id="641" r:id="rId26"/>
    <p:sldId id="642" r:id="rId27"/>
    <p:sldId id="615" r:id="rId28"/>
    <p:sldId id="631" r:id="rId29"/>
  </p:sldIdLst>
  <p:sldSz cx="9144000" cy="6858000" type="screen4x3"/>
  <p:notesSz cx="6858000" cy="9296400"/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EF5A46C-5D80-6545-8CAA-27E7B5C844C7}">
          <p14:sldIdLst>
            <p14:sldId id="408"/>
            <p14:sldId id="643"/>
            <p14:sldId id="621"/>
            <p14:sldId id="644"/>
            <p14:sldId id="618"/>
            <p14:sldId id="645"/>
            <p14:sldId id="619"/>
            <p14:sldId id="622"/>
            <p14:sldId id="623"/>
            <p14:sldId id="625"/>
            <p14:sldId id="626"/>
            <p14:sldId id="627"/>
            <p14:sldId id="632"/>
            <p14:sldId id="633"/>
            <p14:sldId id="634"/>
            <p14:sldId id="635"/>
            <p14:sldId id="636"/>
            <p14:sldId id="637"/>
            <p14:sldId id="638"/>
            <p14:sldId id="639"/>
            <p14:sldId id="640"/>
            <p14:sldId id="641"/>
            <p14:sldId id="642"/>
            <p14:sldId id="615"/>
            <p14:sldId id="631"/>
          </p14:sldIdLst>
        </p14:section>
        <p14:section name="Supplementary" id="{7C64A848-8875-5948-B083-4F7D2BF5BF7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67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bert Blum" initials="" lastIdx="1" clrIdx="0"/>
  <p:cmAuthor id="2" name="Microsoft Office User" initials="" lastIdx="1" clrIdx="1"/>
  <p:cmAuthor id="3" name="caroline moreau" initials="" lastIdx="2" clrIdx="2"/>
  <p:cmAuthor id="4" name="Unknown User1" initials="Unknown User1" lastIdx="1" clrIdx="3"/>
  <p:cmAuthor id="5" name="lrkoenig@outlook.com" initials="l" lastIdx="1" clrIdx="4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6B45"/>
    <a:srgbClr val="113951"/>
    <a:srgbClr val="D8E046"/>
    <a:srgbClr val="57CFE3"/>
    <a:srgbClr val="113A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86" autoAdjust="0"/>
    <p:restoredTop sz="92876" autoAdjust="0"/>
  </p:normalViewPr>
  <p:slideViewPr>
    <p:cSldViewPr snapToObjects="1">
      <p:cViewPr>
        <p:scale>
          <a:sx n="120" d="100"/>
          <a:sy n="120" d="100"/>
        </p:scale>
        <p:origin x="256" y="-2488"/>
      </p:cViewPr>
      <p:guideLst>
        <p:guide orient="horz" pos="672"/>
        <p:guide pos="2880"/>
      </p:guideLst>
    </p:cSldViewPr>
  </p:slideViewPr>
  <p:outlineViewPr>
    <p:cViewPr>
      <p:scale>
        <a:sx n="33" d="100"/>
        <a:sy n="33" d="100"/>
      </p:scale>
      <p:origin x="0" y="20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>
        <p:scale>
          <a:sx n="100" d="100"/>
          <a:sy n="100" d="100"/>
        </p:scale>
        <p:origin x="-3536" y="328"/>
      </p:cViewPr>
      <p:guideLst>
        <p:guide orient="horz" pos="2928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" Target="slides/slide1.xml"/><Relationship Id="rId30" Type="http://schemas.openxmlformats.org/officeDocument/2006/relationships/notesMaster" Target="notesMasters/notesMaster1.xml"/><Relationship Id="rId31" Type="http://schemas.openxmlformats.org/officeDocument/2006/relationships/handoutMaster" Target="handoutMasters/handoutMaster1.xml"/><Relationship Id="rId32" Type="http://schemas.openxmlformats.org/officeDocument/2006/relationships/commentAuthors" Target="commentAuthors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0" name="Group 8">
            <a:extLst>
              <a:ext uri="{FF2B5EF4-FFF2-40B4-BE49-F238E27FC236}">
                <a16:creationId xmlns="" xmlns:a16="http://schemas.microsoft.com/office/drawing/2014/main" id="{2DD78134-DA01-6445-BA09-BE47087A963A}"/>
              </a:ext>
            </a:extLst>
          </p:cNvPr>
          <p:cNvGrpSpPr>
            <a:grpSpLocks/>
          </p:cNvGrpSpPr>
          <p:nvPr/>
        </p:nvGrpSpPr>
        <p:grpSpPr bwMode="auto">
          <a:xfrm>
            <a:off x="0" y="8924925"/>
            <a:ext cx="6867525" cy="371475"/>
            <a:chOff x="0" y="8778875"/>
            <a:chExt cx="6867762" cy="365125"/>
          </a:xfrm>
        </p:grpSpPr>
        <p:sp>
          <p:nvSpPr>
            <p:cNvPr id="7174" name="Picture 25">
              <a:extLst>
                <a:ext uri="{FF2B5EF4-FFF2-40B4-BE49-F238E27FC236}">
                  <a16:creationId xmlns="" xmlns:a16="http://schemas.microsoft.com/office/drawing/2014/main" id="{DB3D5FA9-BB45-F94D-9434-2E7B0A37927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0" y="8778875"/>
              <a:ext cx="6867762" cy="365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" name="Rectangle 7">
              <a:extLst>
                <a:ext uri="{FF2B5EF4-FFF2-40B4-BE49-F238E27FC236}">
                  <a16:creationId xmlns="" xmlns:a16="http://schemas.microsoft.com/office/drawing/2014/main" id="{29DA9E6D-E0C4-894A-8BA1-3F14ACD2D0F8}"/>
                </a:ext>
              </a:extLst>
            </p:cNvPr>
            <p:cNvSpPr/>
            <p:nvPr/>
          </p:nvSpPr>
          <p:spPr>
            <a:xfrm>
              <a:off x="4114942" y="8920869"/>
              <a:ext cx="2286079" cy="182562"/>
            </a:xfrm>
            <a:prstGeom prst="rect">
              <a:avLst/>
            </a:prstGeom>
            <a:solidFill>
              <a:srgbClr val="1A366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E3C97084-F4FC-F04F-A482-95D5FCE6892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2307" tIns="46153" rIns="92307" bIns="4615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1468552-C0EC-664F-88D3-D5E4CCE4AA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2307" tIns="46153" rIns="92307" bIns="4615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AA80F70B-769E-7A43-A035-CA3EB1746341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1F50899A-84ED-B540-80BE-C85E317E5AFF}"/>
              </a:ext>
            </a:extLst>
          </p:cNvPr>
          <p:cNvSpPr txBox="1">
            <a:spLocks/>
          </p:cNvSpPr>
          <p:nvPr/>
        </p:nvSpPr>
        <p:spPr>
          <a:xfrm>
            <a:off x="76200" y="8924925"/>
            <a:ext cx="609600" cy="371475"/>
          </a:xfrm>
          <a:prstGeom prst="rect">
            <a:avLst/>
          </a:prstGeom>
        </p:spPr>
        <p:txBody>
          <a:bodyPr lIns="92307" tIns="46153" rIns="92307" bIns="46153" anchor="ctr"/>
          <a:lstStyle>
            <a:lvl1pPr algn="l">
              <a:defRPr sz="1200">
                <a:solidFill>
                  <a:srgbClr val="C4CFD2"/>
                </a:solidFill>
              </a:defRPr>
            </a:lvl1pPr>
          </a:lstStyle>
          <a:p>
            <a:pPr defTabSz="461532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13E96BA8-A8F4-AF49-B354-B2532E87199B}" type="slidenum">
              <a:rPr lang="en-US">
                <a:latin typeface="+mn-lt"/>
              </a:rPr>
              <a:pPr defTabSz="461532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dirty="0"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8934F313-B141-F14A-AEF3-494573FF6C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138"/>
          </a:xfrm>
          <a:prstGeom prst="rect">
            <a:avLst/>
          </a:prstGeom>
        </p:spPr>
        <p:txBody>
          <a:bodyPr vert="horz" lIns="92307" tIns="46153" rIns="92307" bIns="46153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18ED7EF-7536-6249-BD18-43CEAB6BED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138"/>
          </a:xfrm>
          <a:prstGeom prst="rect">
            <a:avLst/>
          </a:prstGeom>
        </p:spPr>
        <p:txBody>
          <a:bodyPr vert="horz" lIns="92307" tIns="46153" rIns="92307" bIns="46153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B9802BBD-D9C6-4D48-9750-0B877C4D5799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="" xmlns:a16="http://schemas.microsoft.com/office/drawing/2014/main" id="{F80C733C-B830-EF43-B5E4-4CD011EED3A5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049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7" tIns="46153" rIns="92307" bIns="46153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="" xmlns:a16="http://schemas.microsoft.com/office/drawing/2014/main" id="{0E9F2F06-5411-B540-BD12-4C5A68AED7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16425"/>
            <a:ext cx="5486400" cy="4183063"/>
          </a:xfrm>
          <a:prstGeom prst="rect">
            <a:avLst/>
          </a:prstGeom>
        </p:spPr>
        <p:txBody>
          <a:bodyPr vert="horz" lIns="92307" tIns="46153" rIns="92307" bIns="46153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9E2EC050-7163-9347-B82B-BFBC86D2DA2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2971800" cy="465138"/>
          </a:xfrm>
          <a:prstGeom prst="rect">
            <a:avLst/>
          </a:prstGeom>
        </p:spPr>
        <p:txBody>
          <a:bodyPr vert="horz" lIns="92307" tIns="46153" rIns="92307" bIns="46153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B8230F28-7A52-494B-91C0-613B0CDD93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829675"/>
            <a:ext cx="2971800" cy="465138"/>
          </a:xfrm>
          <a:prstGeom prst="rect">
            <a:avLst/>
          </a:prstGeom>
        </p:spPr>
        <p:txBody>
          <a:bodyPr vert="horz" lIns="92307" tIns="46153" rIns="92307" bIns="46153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D3353B1-F37C-944E-AEBE-D4613CF6F4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Slide Image Placeholder 1">
            <a:extLst>
              <a:ext uri="{FF2B5EF4-FFF2-40B4-BE49-F238E27FC236}">
                <a16:creationId xmlns="" xmlns:a16="http://schemas.microsoft.com/office/drawing/2014/main" id="{8A85023C-11FA-A043-BF36-8B9BD7AB9B60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Notes Placeholder 2">
            <a:extLst>
              <a:ext uri="{FF2B5EF4-FFF2-40B4-BE49-F238E27FC236}">
                <a16:creationId xmlns="" xmlns:a16="http://schemas.microsoft.com/office/drawing/2014/main" id="{DD32C247-2F5D-114E-A8C8-66009CAD226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/>
          </a:p>
        </p:txBody>
      </p:sp>
      <p:sp>
        <p:nvSpPr>
          <p:cNvPr id="9219" name="Slide Number Placeholder 3">
            <a:extLst>
              <a:ext uri="{FF2B5EF4-FFF2-40B4-BE49-F238E27FC236}">
                <a16:creationId xmlns="" xmlns:a16="http://schemas.microsoft.com/office/drawing/2014/main" id="{BAB31225-6046-7C4D-90B3-DF18CD79792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D7FA638-B2FE-DB49-B848-4FAA826F6781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69C441-1292-F04B-80AD-19592DD6FA6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3024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>
            <a:extLst>
              <a:ext uri="{FF2B5EF4-FFF2-40B4-BE49-F238E27FC236}">
                <a16:creationId xmlns="" xmlns:a16="http://schemas.microsoft.com/office/drawing/2014/main" id="{B7BDD76F-F7E2-E842-90CC-6ABDED41F63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2" name="Notes Placeholder 2">
            <a:extLst>
              <a:ext uri="{FF2B5EF4-FFF2-40B4-BE49-F238E27FC236}">
                <a16:creationId xmlns="" xmlns:a16="http://schemas.microsoft.com/office/drawing/2014/main" id="{DF244803-B42E-124F-BB58-1AD70473494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/>
          </a:p>
        </p:txBody>
      </p:sp>
      <p:sp>
        <p:nvSpPr>
          <p:cNvPr id="76803" name="Slide Number Placeholder 3">
            <a:extLst>
              <a:ext uri="{FF2B5EF4-FFF2-40B4-BE49-F238E27FC236}">
                <a16:creationId xmlns="" xmlns:a16="http://schemas.microsoft.com/office/drawing/2014/main" id="{577B6F0F-EF86-8949-BCF2-73D480F42B8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A26413B-E190-C04B-AE23-74C7ED9363CC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>
            <a:extLst>
              <a:ext uri="{FF2B5EF4-FFF2-40B4-BE49-F238E27FC236}">
                <a16:creationId xmlns="" xmlns:a16="http://schemas.microsoft.com/office/drawing/2014/main" id="{C90A9D80-9566-5646-96C2-947ED13EEFB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2" name="Notes Placeholder 2">
            <a:extLst>
              <a:ext uri="{FF2B5EF4-FFF2-40B4-BE49-F238E27FC236}">
                <a16:creationId xmlns="" xmlns:a16="http://schemas.microsoft.com/office/drawing/2014/main" id="{5574262A-6C20-D741-A950-E98FF9B9053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dirty="0"/>
              <a:t>Health – contextual factors including family, school and neighborhood, pubertal development, interpersonal violence, sexual &amp; reproductive health</a:t>
            </a:r>
          </a:p>
          <a:p>
            <a:pPr>
              <a:spcBef>
                <a:spcPct val="0"/>
              </a:spcBef>
            </a:pPr>
            <a:r>
              <a:rPr lang="en-US" altLang="en-US" dirty="0"/>
              <a:t>Gender norms – assessment of traditional statements about gender expectations and roles </a:t>
            </a:r>
          </a:p>
          <a:p>
            <a:pPr>
              <a:spcBef>
                <a:spcPct val="0"/>
              </a:spcBef>
            </a:pPr>
            <a:r>
              <a:rPr lang="en-US" altLang="en-US" dirty="0"/>
              <a:t>Vignettes –</a:t>
            </a:r>
          </a:p>
        </p:txBody>
      </p:sp>
      <p:sp>
        <p:nvSpPr>
          <p:cNvPr id="15363" name="Slide Number Placeholder 3">
            <a:extLst>
              <a:ext uri="{FF2B5EF4-FFF2-40B4-BE49-F238E27FC236}">
                <a16:creationId xmlns="" xmlns:a16="http://schemas.microsoft.com/office/drawing/2014/main" id="{A2FA7433-1BFB-4447-8A7A-B646707EE3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C1E5DAF-604B-4848-AB68-B7FA4D620266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US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>
            <a:extLst>
              <a:ext uri="{FF2B5EF4-FFF2-40B4-BE49-F238E27FC236}">
                <a16:creationId xmlns="" xmlns:a16="http://schemas.microsoft.com/office/drawing/2014/main" id="{C90A9D80-9566-5646-96C2-947ED13EEFB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2" name="Notes Placeholder 2">
            <a:extLst>
              <a:ext uri="{FF2B5EF4-FFF2-40B4-BE49-F238E27FC236}">
                <a16:creationId xmlns="" xmlns:a16="http://schemas.microsoft.com/office/drawing/2014/main" id="{5574262A-6C20-D741-A950-E98FF9B9053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>
              <a:solidFill>
                <a:srgbClr val="F06B45"/>
              </a:solidFill>
            </a:endParaRPr>
          </a:p>
        </p:txBody>
      </p:sp>
      <p:sp>
        <p:nvSpPr>
          <p:cNvPr id="15363" name="Slide Number Placeholder 3">
            <a:extLst>
              <a:ext uri="{FF2B5EF4-FFF2-40B4-BE49-F238E27FC236}">
                <a16:creationId xmlns="" xmlns:a16="http://schemas.microsoft.com/office/drawing/2014/main" id="{A2FA7433-1BFB-4447-8A7A-B646707EE3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C1E5DAF-604B-4848-AB68-B7FA4D620266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65133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>
            <a:extLst>
              <a:ext uri="{FF2B5EF4-FFF2-40B4-BE49-F238E27FC236}">
                <a16:creationId xmlns="" xmlns:a16="http://schemas.microsoft.com/office/drawing/2014/main" id="{C90A9D80-9566-5646-96C2-947ED13EEFB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2" name="Notes Placeholder 2">
            <a:extLst>
              <a:ext uri="{FF2B5EF4-FFF2-40B4-BE49-F238E27FC236}">
                <a16:creationId xmlns="" xmlns:a16="http://schemas.microsoft.com/office/drawing/2014/main" id="{5574262A-6C20-D741-A950-E98FF9B9053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5363" name="Slide Number Placeholder 3">
            <a:extLst>
              <a:ext uri="{FF2B5EF4-FFF2-40B4-BE49-F238E27FC236}">
                <a16:creationId xmlns="" xmlns:a16="http://schemas.microsoft.com/office/drawing/2014/main" id="{A2FA7433-1BFB-4447-8A7A-B646707EE3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C1E5DAF-604B-4848-AB68-B7FA4D620266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22266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Slide Image Placeholder 1">
            <a:extLst>
              <a:ext uri="{FF2B5EF4-FFF2-40B4-BE49-F238E27FC236}">
                <a16:creationId xmlns="" xmlns:a16="http://schemas.microsoft.com/office/drawing/2014/main" id="{C90A9D80-9566-5646-96C2-947ED13EEFB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2" name="Notes Placeholder 2">
            <a:extLst>
              <a:ext uri="{FF2B5EF4-FFF2-40B4-BE49-F238E27FC236}">
                <a16:creationId xmlns="" xmlns:a16="http://schemas.microsoft.com/office/drawing/2014/main" id="{5574262A-6C20-D741-A950-E98FF9B9053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altLang="en-US" dirty="0"/>
              <a:t>Boys and girls ages 10-14 living in resource-constrained settings in major cities worldwide.</a:t>
            </a:r>
          </a:p>
        </p:txBody>
      </p:sp>
      <p:sp>
        <p:nvSpPr>
          <p:cNvPr id="15363" name="Slide Number Placeholder 3">
            <a:extLst>
              <a:ext uri="{FF2B5EF4-FFF2-40B4-BE49-F238E27FC236}">
                <a16:creationId xmlns="" xmlns:a16="http://schemas.microsoft.com/office/drawing/2014/main" id="{A2FA7433-1BFB-4447-8A7A-B646707EE360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C1E5DAF-604B-4848-AB68-B7FA4D620266}" type="slidenum">
              <a:rPr lang="en-US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619179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69C441-1292-F04B-80AD-19592DD6FA6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4361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69C441-1292-F04B-80AD-19592DD6FA6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7643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gency is malleable and that is where interventions are focused. Agency works through opportunity structure to increase self-actualization and not the other way around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69C441-1292-F04B-80AD-19592DD6FA6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831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3353B1-F37C-944E-AEBE-D4613CF6F459}" type="slidenum">
              <a:rPr lang="en-US" smtClean="0"/>
              <a:pPr>
                <a:defRPr/>
              </a:pPr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272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588F564-6AB3-DD4C-830B-0A7E77CC78A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8551825D-1953-7848-B0D4-1FACFEC0D3B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3F48A4C0-B4B6-9447-A44D-4C4BBC3B24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4293DE-092F-5F47-BF57-03176A6AA4D2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7576A12-E519-6F42-87A6-66F733FFB4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CD93378-8BDE-8248-A786-B61EEC32F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B4062F-E9DF-CF4E-9904-07E2B11BF0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50647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454223E-923B-D943-8A0C-67036BC4E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35962711-8707-1E4F-9BC9-1DD3B20E65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57B1A387-B93A-824B-946F-3CFF4F4EE3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D3191C-A0DD-A445-9433-A25F8EE20062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EFE74AA-63ED-394B-A8A6-8E7956A0E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F2BDD86-33C3-A84E-8538-4EA207DB8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E8BEF7-0DCD-1F4D-9A89-8384C172BA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539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6A09FAF8-1A52-6E4D-B87F-C721F7DEDD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4895D545-F16B-8F4B-9B38-4D82FECAEF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F6AB50C-1FFA-624E-A1CB-116629565A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594C2C-358A-0E48-84D6-4DE3C8E5B1F8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864B2BD-D7DE-AD48-AAD1-1C5D442E36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F8ABFF3-12C9-A943-9DDC-1BA4D0F61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08E0AF-6D6D-7744-9794-C9CB45E276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3695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52400" y="1143000"/>
            <a:ext cx="4267200" cy="23622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152400" y="3810000"/>
            <a:ext cx="4267200" cy="23622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724400" y="1143000"/>
            <a:ext cx="4267200" cy="23622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724400" y="3810000"/>
            <a:ext cx="4267200" cy="23622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9" name="Slide Number Placeholder 2">
            <a:extLst>
              <a:ext uri="{FF2B5EF4-FFF2-40B4-BE49-F238E27FC236}">
                <a16:creationId xmlns="" xmlns:a16="http://schemas.microsoft.com/office/drawing/2014/main" id="{517C8BA1-2444-C041-8BF1-BF2A62A09AB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CBDF96-7AC1-7444-9FAD-8A592F8BD1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59612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0506A8A1-F094-294C-9D9C-DB7F3B330AF4}" type="datetime1">
              <a:rPr lang="en-US" smtClean="0"/>
              <a:t>10/11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E632AD41-5FFB-6347-B8FB-BDDB52E11F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63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5D96E58-6AFB-134B-BB09-860DC6C4F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xmlns="" id="{FF4C4442-B901-B14E-8A02-C8F6559F0B9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52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EFF424-F111-43CB-9C75-D52325012943}" type="datetime1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EBE36487-8225-3C4D-8662-0D97B106AB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52"/>
            <a:ext cx="30861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xmlns="" id="{9E29AB1A-438D-F945-AFFC-D57E6EAFE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52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7E66ED-FF4D-5646-86FF-3B4DC7DA7F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45475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5D96E58-6AFB-134B-BB09-860DC6C4FF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="" xmlns:a16="http://schemas.microsoft.com/office/drawing/2014/main" id="{FF4C4442-B901-B14E-8A02-C8F6559F0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EFF424-F111-43CB-9C75-D52325012943}" type="datetime1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="" xmlns:a16="http://schemas.microsoft.com/office/drawing/2014/main" id="{EBE36487-8225-3C4D-8662-0D97B106AB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9E29AB1A-438D-F945-AFFC-D57E6EAFE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7E66ED-FF4D-5646-86FF-3B4DC7DA7FE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656702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3BB0D81-90C8-B741-A78D-CCF517EBE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191DAB24-4D28-2345-BF6B-2CA4F4E4BC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1B4B166-C68D-F744-B356-B06FF4AFD2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EA815D-9DBE-FA43-ADCF-6B26C4F52B5F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9215F90-80A2-CB4F-AE48-0D10F9DA85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E11103F-A57A-DA4B-AE3F-6EC4C23DB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126210-059A-0D4A-A423-32227C8B29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231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504704-5619-724A-8510-832815C5D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09DE070-DF27-194B-AAD1-D238202DD1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6E6EDC42-746F-0447-9CDE-6F8EF10504D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28657648-E48A-A944-A5F8-9E5CDF5CA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E1226F-FF6A-964F-B9AC-AD5A9D05AABF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="" xmlns:a16="http://schemas.microsoft.com/office/drawing/2014/main" id="{AD6C29D5-2CF0-C845-925D-AD29F6C41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FD9EAFA7-D9C5-CE45-B7F3-62DAD67CE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4C3BBB-B57B-0344-9E74-FFF4BDC2E6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4761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4CFC62E9-1417-724C-8C40-D8C49B0BAE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8F311F00-41B0-DA4E-99A6-68B7EC10ED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18DAF91-34A9-2A49-9BF7-09781B6546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1CF9AD1B-C59D-9D40-A563-B70914A289C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1B98DABE-BA30-0C43-8C67-A57B86007A2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="" xmlns:a16="http://schemas.microsoft.com/office/drawing/2014/main" id="{2F735018-C730-084B-9D90-23F8753502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CF6CF8-14EC-AA4A-9B4E-3D7B444691A0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="" xmlns:a16="http://schemas.microsoft.com/office/drawing/2014/main" id="{552AAEF0-E361-9C43-93E9-7090E42A9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62E05336-BEA4-8746-9574-8F4E6AE70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7361A-E9CC-F043-A597-26D6C30C8C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78949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A3C3340-2BAD-304C-9F9D-B28F25F04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="" xmlns:a16="http://schemas.microsoft.com/office/drawing/2014/main" id="{03704921-76A5-9F4E-B41C-53078A86D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94BEAF-6A46-954F-8753-29A8CD926F70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="" xmlns:a16="http://schemas.microsoft.com/office/drawing/2014/main" id="{E93BEE43-AB44-1A49-AE1C-2BC9C3201A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22990033-8A43-734A-A8AD-B62004A8F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D867F0-8287-124A-B217-3F1D5461CB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80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CA877B80-C805-9F44-8F3B-5BCA27F72F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1D58AA-1C84-40C9-BFEE-631CCB17636C}" type="datetime1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C7DDB2F2-60AE-2E40-90F1-7A987C85CD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99D4A360-840A-4E4D-BA81-7595B73CC2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0F4441-D470-F642-8011-98B4814B76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090551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51C695B-A6EB-6E4C-AED6-76B3B2DE6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5F8CD19D-F4EB-2041-B7E9-B7026FFFCD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0C40D9CC-6233-804E-BF77-286A81A238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2B684C31-CDE7-C74B-B802-E87379AB3D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2619CA-27BA-6447-B023-E2D84BE07DB3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="" xmlns:a16="http://schemas.microsoft.com/office/drawing/2014/main" id="{D02F0DA4-6C99-574C-A6F5-7DCED82675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2F74C20B-277B-C74B-892C-30342D2DAD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6A885-3359-5842-B87F-AD556EC6D5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4306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3D8F704-FB04-954A-93C5-69DE5F3CFE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A2D0DA52-F6E0-CE44-9587-57AED2B00C5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7C5A5A34-9BD8-E642-99E9-F53017E95A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="" xmlns:a16="http://schemas.microsoft.com/office/drawing/2014/main" id="{10683B14-03B4-7145-969A-D815CB1C48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E75E13-D5FB-1B4E-A7FA-1BB389145963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="" xmlns:a16="http://schemas.microsoft.com/office/drawing/2014/main" id="{3C6931EE-4CAD-D64B-87E1-EB679F73D5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2EFCFEE2-551E-B544-9611-557F5ECB7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E0A14-E0FA-5748-9870-3F317A7B6D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3792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="" xmlns:a16="http://schemas.microsoft.com/office/drawing/2014/main" id="{79A86859-9024-E24F-BCDB-8127701EBE6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26B87E0-10A9-EE48-BE1C-A4262956D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9E44D4C-352F-5740-ABBD-AA2F8E0775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EC3651EE-B4A5-4E4A-A0FD-EB6A0622FFF3}" type="datetimeFigureOut">
              <a:rPr lang="en-US"/>
              <a:pPr>
                <a:defRPr/>
              </a:pPr>
              <a:t>10/11/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AF54CF9-4EB4-BB4D-9E1E-965CABCB14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5FC852B-A3A1-EB4A-8C14-077481A5D0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F43FDF1-88E4-8C4F-8CD9-61D47ABD778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9" r:id="rId2"/>
    <p:sldLayoutId id="2147483681" r:id="rId3"/>
    <p:sldLayoutId id="2147483682" r:id="rId4"/>
    <p:sldLayoutId id="2147483683" r:id="rId5"/>
    <p:sldLayoutId id="2147483684" r:id="rId6"/>
    <p:sldLayoutId id="2147483690" r:id="rId7"/>
    <p:sldLayoutId id="2147483685" r:id="rId8"/>
    <p:sldLayoutId id="2147483686" r:id="rId9"/>
    <p:sldLayoutId id="2147483687" r:id="rId10"/>
    <p:sldLayoutId id="2147483688" r:id="rId11"/>
    <p:sldLayoutId id="2147483692" r:id="rId12"/>
    <p:sldLayoutId id="2147483693" r:id="rId13"/>
    <p:sldLayoutId id="2147483694" r:id="rId14"/>
  </p:sldLayoutIdLst>
  <p:txStyles>
    <p:titleStyle>
      <a:lvl1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fontAlgn="base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fontAlgn="base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journals.plos.org/plosone/article?id=10.1371/journal.pone.0157805" TargetMode="External"/><Relationship Id="rId4" Type="http://schemas.openxmlformats.org/officeDocument/2006/relationships/hyperlink" Target="https://www.jahonline.org/issue/S1054-139X(17)X0014-1" TargetMode="External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4" Type="http://schemas.openxmlformats.org/officeDocument/2006/relationships/image" Target="../media/image11.emf"/><Relationship Id="rId5" Type="http://schemas.openxmlformats.org/officeDocument/2006/relationships/image" Target="../media/image12.jp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3.jp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14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06" Type="http://schemas.openxmlformats.org/officeDocument/2006/relationships/tags" Target="../tags/tag487.xml"/><Relationship Id="rId107" Type="http://schemas.openxmlformats.org/officeDocument/2006/relationships/tags" Target="../tags/tag488.xml"/><Relationship Id="rId108" Type="http://schemas.openxmlformats.org/officeDocument/2006/relationships/tags" Target="../tags/tag489.xml"/><Relationship Id="rId109" Type="http://schemas.openxmlformats.org/officeDocument/2006/relationships/tags" Target="../tags/tag490.xml"/><Relationship Id="rId345" Type="http://schemas.openxmlformats.org/officeDocument/2006/relationships/tags" Target="../tags/tag726.xml"/><Relationship Id="rId346" Type="http://schemas.openxmlformats.org/officeDocument/2006/relationships/tags" Target="../tags/tag727.xml"/><Relationship Id="rId347" Type="http://schemas.openxmlformats.org/officeDocument/2006/relationships/tags" Target="../tags/tag728.xml"/><Relationship Id="rId348" Type="http://schemas.openxmlformats.org/officeDocument/2006/relationships/tags" Target="../tags/tag729.xml"/><Relationship Id="rId349" Type="http://schemas.openxmlformats.org/officeDocument/2006/relationships/tags" Target="../tags/tag730.xml"/><Relationship Id="rId70" Type="http://schemas.openxmlformats.org/officeDocument/2006/relationships/tags" Target="../tags/tag451.xml"/><Relationship Id="rId71" Type="http://schemas.openxmlformats.org/officeDocument/2006/relationships/tags" Target="../tags/tag452.xml"/><Relationship Id="rId72" Type="http://schemas.openxmlformats.org/officeDocument/2006/relationships/tags" Target="../tags/tag453.xml"/><Relationship Id="rId73" Type="http://schemas.openxmlformats.org/officeDocument/2006/relationships/tags" Target="../tags/tag454.xml"/><Relationship Id="rId74" Type="http://schemas.openxmlformats.org/officeDocument/2006/relationships/tags" Target="../tags/tag455.xml"/><Relationship Id="rId75" Type="http://schemas.openxmlformats.org/officeDocument/2006/relationships/tags" Target="../tags/tag456.xml"/><Relationship Id="rId76" Type="http://schemas.openxmlformats.org/officeDocument/2006/relationships/tags" Target="../tags/tag457.xml"/><Relationship Id="rId77" Type="http://schemas.openxmlformats.org/officeDocument/2006/relationships/tags" Target="../tags/tag458.xml"/><Relationship Id="rId78" Type="http://schemas.openxmlformats.org/officeDocument/2006/relationships/tags" Target="../tags/tag459.xml"/><Relationship Id="rId79" Type="http://schemas.openxmlformats.org/officeDocument/2006/relationships/tags" Target="../tags/tag460.xml"/><Relationship Id="rId170" Type="http://schemas.openxmlformats.org/officeDocument/2006/relationships/tags" Target="../tags/tag551.xml"/><Relationship Id="rId171" Type="http://schemas.openxmlformats.org/officeDocument/2006/relationships/tags" Target="../tags/tag552.xml"/><Relationship Id="rId172" Type="http://schemas.openxmlformats.org/officeDocument/2006/relationships/tags" Target="../tags/tag553.xml"/><Relationship Id="rId173" Type="http://schemas.openxmlformats.org/officeDocument/2006/relationships/tags" Target="../tags/tag554.xml"/><Relationship Id="rId174" Type="http://schemas.openxmlformats.org/officeDocument/2006/relationships/tags" Target="../tags/tag555.xml"/><Relationship Id="rId175" Type="http://schemas.openxmlformats.org/officeDocument/2006/relationships/tags" Target="../tags/tag556.xml"/><Relationship Id="rId176" Type="http://schemas.openxmlformats.org/officeDocument/2006/relationships/tags" Target="../tags/tag557.xml"/><Relationship Id="rId177" Type="http://schemas.openxmlformats.org/officeDocument/2006/relationships/tags" Target="../tags/tag558.xml"/><Relationship Id="rId178" Type="http://schemas.openxmlformats.org/officeDocument/2006/relationships/tags" Target="../tags/tag559.xml"/><Relationship Id="rId179" Type="http://schemas.openxmlformats.org/officeDocument/2006/relationships/tags" Target="../tags/tag560.xml"/><Relationship Id="rId260" Type="http://schemas.openxmlformats.org/officeDocument/2006/relationships/tags" Target="../tags/tag641.xml"/><Relationship Id="rId10" Type="http://schemas.openxmlformats.org/officeDocument/2006/relationships/tags" Target="../tags/tag391.xml"/><Relationship Id="rId11" Type="http://schemas.openxmlformats.org/officeDocument/2006/relationships/tags" Target="../tags/tag392.xml"/><Relationship Id="rId12" Type="http://schemas.openxmlformats.org/officeDocument/2006/relationships/tags" Target="../tags/tag393.xml"/><Relationship Id="rId13" Type="http://schemas.openxmlformats.org/officeDocument/2006/relationships/tags" Target="../tags/tag394.xml"/><Relationship Id="rId14" Type="http://schemas.openxmlformats.org/officeDocument/2006/relationships/tags" Target="../tags/tag395.xml"/><Relationship Id="rId15" Type="http://schemas.openxmlformats.org/officeDocument/2006/relationships/tags" Target="../tags/tag396.xml"/><Relationship Id="rId16" Type="http://schemas.openxmlformats.org/officeDocument/2006/relationships/tags" Target="../tags/tag397.xml"/><Relationship Id="rId17" Type="http://schemas.openxmlformats.org/officeDocument/2006/relationships/tags" Target="../tags/tag398.xml"/><Relationship Id="rId18" Type="http://schemas.openxmlformats.org/officeDocument/2006/relationships/tags" Target="../tags/tag399.xml"/><Relationship Id="rId19" Type="http://schemas.openxmlformats.org/officeDocument/2006/relationships/tags" Target="../tags/tag400.xml"/><Relationship Id="rId261" Type="http://schemas.openxmlformats.org/officeDocument/2006/relationships/tags" Target="../tags/tag642.xml"/><Relationship Id="rId262" Type="http://schemas.openxmlformats.org/officeDocument/2006/relationships/tags" Target="../tags/tag643.xml"/><Relationship Id="rId263" Type="http://schemas.openxmlformats.org/officeDocument/2006/relationships/tags" Target="../tags/tag644.xml"/><Relationship Id="rId264" Type="http://schemas.openxmlformats.org/officeDocument/2006/relationships/tags" Target="../tags/tag645.xml"/><Relationship Id="rId110" Type="http://schemas.openxmlformats.org/officeDocument/2006/relationships/tags" Target="../tags/tag491.xml"/><Relationship Id="rId111" Type="http://schemas.openxmlformats.org/officeDocument/2006/relationships/tags" Target="../tags/tag492.xml"/><Relationship Id="rId112" Type="http://schemas.openxmlformats.org/officeDocument/2006/relationships/tags" Target="../tags/tag493.xml"/><Relationship Id="rId113" Type="http://schemas.openxmlformats.org/officeDocument/2006/relationships/tags" Target="../tags/tag494.xml"/><Relationship Id="rId114" Type="http://schemas.openxmlformats.org/officeDocument/2006/relationships/tags" Target="../tags/tag495.xml"/><Relationship Id="rId115" Type="http://schemas.openxmlformats.org/officeDocument/2006/relationships/tags" Target="../tags/tag496.xml"/><Relationship Id="rId116" Type="http://schemas.openxmlformats.org/officeDocument/2006/relationships/tags" Target="../tags/tag497.xml"/><Relationship Id="rId117" Type="http://schemas.openxmlformats.org/officeDocument/2006/relationships/tags" Target="../tags/tag498.xml"/><Relationship Id="rId118" Type="http://schemas.openxmlformats.org/officeDocument/2006/relationships/tags" Target="../tags/tag499.xml"/><Relationship Id="rId119" Type="http://schemas.openxmlformats.org/officeDocument/2006/relationships/tags" Target="../tags/tag500.xml"/><Relationship Id="rId200" Type="http://schemas.openxmlformats.org/officeDocument/2006/relationships/tags" Target="../tags/tag581.xml"/><Relationship Id="rId201" Type="http://schemas.openxmlformats.org/officeDocument/2006/relationships/tags" Target="../tags/tag582.xml"/><Relationship Id="rId202" Type="http://schemas.openxmlformats.org/officeDocument/2006/relationships/tags" Target="../tags/tag583.xml"/><Relationship Id="rId203" Type="http://schemas.openxmlformats.org/officeDocument/2006/relationships/tags" Target="../tags/tag584.xml"/><Relationship Id="rId204" Type="http://schemas.openxmlformats.org/officeDocument/2006/relationships/tags" Target="../tags/tag585.xml"/><Relationship Id="rId205" Type="http://schemas.openxmlformats.org/officeDocument/2006/relationships/tags" Target="../tags/tag586.xml"/><Relationship Id="rId206" Type="http://schemas.openxmlformats.org/officeDocument/2006/relationships/tags" Target="../tags/tag587.xml"/><Relationship Id="rId207" Type="http://schemas.openxmlformats.org/officeDocument/2006/relationships/tags" Target="../tags/tag588.xml"/><Relationship Id="rId208" Type="http://schemas.openxmlformats.org/officeDocument/2006/relationships/tags" Target="../tags/tag589.xml"/><Relationship Id="rId209" Type="http://schemas.openxmlformats.org/officeDocument/2006/relationships/tags" Target="../tags/tag590.xml"/><Relationship Id="rId265" Type="http://schemas.openxmlformats.org/officeDocument/2006/relationships/tags" Target="../tags/tag646.xml"/><Relationship Id="rId266" Type="http://schemas.openxmlformats.org/officeDocument/2006/relationships/tags" Target="../tags/tag647.xml"/><Relationship Id="rId267" Type="http://schemas.openxmlformats.org/officeDocument/2006/relationships/tags" Target="../tags/tag648.xml"/><Relationship Id="rId268" Type="http://schemas.openxmlformats.org/officeDocument/2006/relationships/tags" Target="../tags/tag649.xml"/><Relationship Id="rId269" Type="http://schemas.openxmlformats.org/officeDocument/2006/relationships/tags" Target="../tags/tag650.xml"/><Relationship Id="rId350" Type="http://schemas.openxmlformats.org/officeDocument/2006/relationships/tags" Target="../tags/tag731.xml"/><Relationship Id="rId351" Type="http://schemas.openxmlformats.org/officeDocument/2006/relationships/tags" Target="../tags/tag732.xml"/><Relationship Id="rId352" Type="http://schemas.openxmlformats.org/officeDocument/2006/relationships/tags" Target="../tags/tag733.xml"/><Relationship Id="rId353" Type="http://schemas.openxmlformats.org/officeDocument/2006/relationships/tags" Target="../tags/tag734.xml"/><Relationship Id="rId354" Type="http://schemas.openxmlformats.org/officeDocument/2006/relationships/tags" Target="../tags/tag735.xml"/><Relationship Id="rId355" Type="http://schemas.openxmlformats.org/officeDocument/2006/relationships/tags" Target="../tags/tag736.xml"/><Relationship Id="rId356" Type="http://schemas.openxmlformats.org/officeDocument/2006/relationships/tags" Target="../tags/tag737.xml"/><Relationship Id="rId357" Type="http://schemas.openxmlformats.org/officeDocument/2006/relationships/tags" Target="../tags/tag738.xml"/><Relationship Id="rId358" Type="http://schemas.openxmlformats.org/officeDocument/2006/relationships/tags" Target="../tags/tag739.xml"/><Relationship Id="rId1" Type="http://schemas.openxmlformats.org/officeDocument/2006/relationships/tags" Target="../tags/tag382.xml"/><Relationship Id="rId2" Type="http://schemas.openxmlformats.org/officeDocument/2006/relationships/tags" Target="../tags/tag383.xml"/><Relationship Id="rId3" Type="http://schemas.openxmlformats.org/officeDocument/2006/relationships/tags" Target="../tags/tag384.xml"/><Relationship Id="rId4" Type="http://schemas.openxmlformats.org/officeDocument/2006/relationships/tags" Target="../tags/tag385.xml"/><Relationship Id="rId5" Type="http://schemas.openxmlformats.org/officeDocument/2006/relationships/tags" Target="../tags/tag386.xml"/><Relationship Id="rId6" Type="http://schemas.openxmlformats.org/officeDocument/2006/relationships/tags" Target="../tags/tag387.xml"/><Relationship Id="rId7" Type="http://schemas.openxmlformats.org/officeDocument/2006/relationships/tags" Target="../tags/tag388.xml"/><Relationship Id="rId8" Type="http://schemas.openxmlformats.org/officeDocument/2006/relationships/tags" Target="../tags/tag389.xml"/><Relationship Id="rId9" Type="http://schemas.openxmlformats.org/officeDocument/2006/relationships/tags" Target="../tags/tag390.xml"/><Relationship Id="rId359" Type="http://schemas.openxmlformats.org/officeDocument/2006/relationships/tags" Target="../tags/tag740.xml"/><Relationship Id="rId80" Type="http://schemas.openxmlformats.org/officeDocument/2006/relationships/tags" Target="../tags/tag461.xml"/><Relationship Id="rId81" Type="http://schemas.openxmlformats.org/officeDocument/2006/relationships/tags" Target="../tags/tag462.xml"/><Relationship Id="rId82" Type="http://schemas.openxmlformats.org/officeDocument/2006/relationships/tags" Target="../tags/tag463.xml"/><Relationship Id="rId83" Type="http://schemas.openxmlformats.org/officeDocument/2006/relationships/tags" Target="../tags/tag464.xml"/><Relationship Id="rId84" Type="http://schemas.openxmlformats.org/officeDocument/2006/relationships/tags" Target="../tags/tag465.xml"/><Relationship Id="rId85" Type="http://schemas.openxmlformats.org/officeDocument/2006/relationships/tags" Target="../tags/tag466.xml"/><Relationship Id="rId86" Type="http://schemas.openxmlformats.org/officeDocument/2006/relationships/tags" Target="../tags/tag467.xml"/><Relationship Id="rId87" Type="http://schemas.openxmlformats.org/officeDocument/2006/relationships/tags" Target="../tags/tag468.xml"/><Relationship Id="rId88" Type="http://schemas.openxmlformats.org/officeDocument/2006/relationships/tags" Target="../tags/tag469.xml"/><Relationship Id="rId89" Type="http://schemas.openxmlformats.org/officeDocument/2006/relationships/tags" Target="../tags/tag470.xml"/><Relationship Id="rId180" Type="http://schemas.openxmlformats.org/officeDocument/2006/relationships/tags" Target="../tags/tag561.xml"/><Relationship Id="rId181" Type="http://schemas.openxmlformats.org/officeDocument/2006/relationships/tags" Target="../tags/tag562.xml"/><Relationship Id="rId182" Type="http://schemas.openxmlformats.org/officeDocument/2006/relationships/tags" Target="../tags/tag563.xml"/><Relationship Id="rId183" Type="http://schemas.openxmlformats.org/officeDocument/2006/relationships/tags" Target="../tags/tag564.xml"/><Relationship Id="rId184" Type="http://schemas.openxmlformats.org/officeDocument/2006/relationships/tags" Target="../tags/tag565.xml"/><Relationship Id="rId185" Type="http://schemas.openxmlformats.org/officeDocument/2006/relationships/tags" Target="../tags/tag566.xml"/><Relationship Id="rId186" Type="http://schemas.openxmlformats.org/officeDocument/2006/relationships/tags" Target="../tags/tag567.xml"/><Relationship Id="rId187" Type="http://schemas.openxmlformats.org/officeDocument/2006/relationships/tags" Target="../tags/tag568.xml"/><Relationship Id="rId188" Type="http://schemas.openxmlformats.org/officeDocument/2006/relationships/tags" Target="../tags/tag569.xml"/><Relationship Id="rId189" Type="http://schemas.openxmlformats.org/officeDocument/2006/relationships/tags" Target="../tags/tag570.xml"/><Relationship Id="rId270" Type="http://schemas.openxmlformats.org/officeDocument/2006/relationships/tags" Target="../tags/tag651.xml"/><Relationship Id="rId20" Type="http://schemas.openxmlformats.org/officeDocument/2006/relationships/tags" Target="../tags/tag401.xml"/><Relationship Id="rId21" Type="http://schemas.openxmlformats.org/officeDocument/2006/relationships/tags" Target="../tags/tag402.xml"/><Relationship Id="rId22" Type="http://schemas.openxmlformats.org/officeDocument/2006/relationships/tags" Target="../tags/tag403.xml"/><Relationship Id="rId23" Type="http://schemas.openxmlformats.org/officeDocument/2006/relationships/tags" Target="../tags/tag404.xml"/><Relationship Id="rId24" Type="http://schemas.openxmlformats.org/officeDocument/2006/relationships/tags" Target="../tags/tag405.xml"/><Relationship Id="rId25" Type="http://schemas.openxmlformats.org/officeDocument/2006/relationships/tags" Target="../tags/tag406.xml"/><Relationship Id="rId26" Type="http://schemas.openxmlformats.org/officeDocument/2006/relationships/tags" Target="../tags/tag407.xml"/><Relationship Id="rId27" Type="http://schemas.openxmlformats.org/officeDocument/2006/relationships/tags" Target="../tags/tag408.xml"/><Relationship Id="rId28" Type="http://schemas.openxmlformats.org/officeDocument/2006/relationships/tags" Target="../tags/tag409.xml"/><Relationship Id="rId29" Type="http://schemas.openxmlformats.org/officeDocument/2006/relationships/tags" Target="../tags/tag410.xml"/><Relationship Id="rId271" Type="http://schemas.openxmlformats.org/officeDocument/2006/relationships/tags" Target="../tags/tag652.xml"/><Relationship Id="rId272" Type="http://schemas.openxmlformats.org/officeDocument/2006/relationships/tags" Target="../tags/tag653.xml"/><Relationship Id="rId273" Type="http://schemas.openxmlformats.org/officeDocument/2006/relationships/tags" Target="../tags/tag654.xml"/><Relationship Id="rId274" Type="http://schemas.openxmlformats.org/officeDocument/2006/relationships/tags" Target="../tags/tag655.xml"/><Relationship Id="rId120" Type="http://schemas.openxmlformats.org/officeDocument/2006/relationships/tags" Target="../tags/tag501.xml"/><Relationship Id="rId121" Type="http://schemas.openxmlformats.org/officeDocument/2006/relationships/tags" Target="../tags/tag502.xml"/><Relationship Id="rId122" Type="http://schemas.openxmlformats.org/officeDocument/2006/relationships/tags" Target="../tags/tag503.xml"/><Relationship Id="rId123" Type="http://schemas.openxmlformats.org/officeDocument/2006/relationships/tags" Target="../tags/tag504.xml"/><Relationship Id="rId124" Type="http://schemas.openxmlformats.org/officeDocument/2006/relationships/tags" Target="../tags/tag505.xml"/><Relationship Id="rId125" Type="http://schemas.openxmlformats.org/officeDocument/2006/relationships/tags" Target="../tags/tag506.xml"/><Relationship Id="rId126" Type="http://schemas.openxmlformats.org/officeDocument/2006/relationships/tags" Target="../tags/tag507.xml"/><Relationship Id="rId127" Type="http://schemas.openxmlformats.org/officeDocument/2006/relationships/tags" Target="../tags/tag508.xml"/><Relationship Id="rId128" Type="http://schemas.openxmlformats.org/officeDocument/2006/relationships/tags" Target="../tags/tag509.xml"/><Relationship Id="rId129" Type="http://schemas.openxmlformats.org/officeDocument/2006/relationships/tags" Target="../tags/tag510.xml"/><Relationship Id="rId210" Type="http://schemas.openxmlformats.org/officeDocument/2006/relationships/tags" Target="../tags/tag591.xml"/><Relationship Id="rId211" Type="http://schemas.openxmlformats.org/officeDocument/2006/relationships/tags" Target="../tags/tag592.xml"/><Relationship Id="rId212" Type="http://schemas.openxmlformats.org/officeDocument/2006/relationships/tags" Target="../tags/tag593.xml"/><Relationship Id="rId213" Type="http://schemas.openxmlformats.org/officeDocument/2006/relationships/tags" Target="../tags/tag594.xml"/><Relationship Id="rId214" Type="http://schemas.openxmlformats.org/officeDocument/2006/relationships/tags" Target="../tags/tag595.xml"/><Relationship Id="rId215" Type="http://schemas.openxmlformats.org/officeDocument/2006/relationships/tags" Target="../tags/tag596.xml"/><Relationship Id="rId216" Type="http://schemas.openxmlformats.org/officeDocument/2006/relationships/tags" Target="../tags/tag597.xml"/><Relationship Id="rId217" Type="http://schemas.openxmlformats.org/officeDocument/2006/relationships/tags" Target="../tags/tag598.xml"/><Relationship Id="rId218" Type="http://schemas.openxmlformats.org/officeDocument/2006/relationships/tags" Target="../tags/tag599.xml"/><Relationship Id="rId219" Type="http://schemas.openxmlformats.org/officeDocument/2006/relationships/tags" Target="../tags/tag600.xml"/><Relationship Id="rId275" Type="http://schemas.openxmlformats.org/officeDocument/2006/relationships/tags" Target="../tags/tag656.xml"/><Relationship Id="rId276" Type="http://schemas.openxmlformats.org/officeDocument/2006/relationships/tags" Target="../tags/tag657.xml"/><Relationship Id="rId277" Type="http://schemas.openxmlformats.org/officeDocument/2006/relationships/tags" Target="../tags/tag658.xml"/><Relationship Id="rId278" Type="http://schemas.openxmlformats.org/officeDocument/2006/relationships/tags" Target="../tags/tag659.xml"/><Relationship Id="rId279" Type="http://schemas.openxmlformats.org/officeDocument/2006/relationships/tags" Target="../tags/tag660.xml"/><Relationship Id="rId300" Type="http://schemas.openxmlformats.org/officeDocument/2006/relationships/tags" Target="../tags/tag681.xml"/><Relationship Id="rId301" Type="http://schemas.openxmlformats.org/officeDocument/2006/relationships/tags" Target="../tags/tag682.xml"/><Relationship Id="rId302" Type="http://schemas.openxmlformats.org/officeDocument/2006/relationships/tags" Target="../tags/tag683.xml"/><Relationship Id="rId303" Type="http://schemas.openxmlformats.org/officeDocument/2006/relationships/tags" Target="../tags/tag684.xml"/><Relationship Id="rId304" Type="http://schemas.openxmlformats.org/officeDocument/2006/relationships/tags" Target="../tags/tag685.xml"/><Relationship Id="rId305" Type="http://schemas.openxmlformats.org/officeDocument/2006/relationships/tags" Target="../tags/tag686.xml"/><Relationship Id="rId306" Type="http://schemas.openxmlformats.org/officeDocument/2006/relationships/tags" Target="../tags/tag687.xml"/><Relationship Id="rId307" Type="http://schemas.openxmlformats.org/officeDocument/2006/relationships/tags" Target="../tags/tag688.xml"/><Relationship Id="rId308" Type="http://schemas.openxmlformats.org/officeDocument/2006/relationships/tags" Target="../tags/tag689.xml"/><Relationship Id="rId309" Type="http://schemas.openxmlformats.org/officeDocument/2006/relationships/tags" Target="../tags/tag690.xml"/><Relationship Id="rId360" Type="http://schemas.openxmlformats.org/officeDocument/2006/relationships/tags" Target="../tags/tag741.xml"/><Relationship Id="rId361" Type="http://schemas.openxmlformats.org/officeDocument/2006/relationships/tags" Target="../tags/tag742.xml"/><Relationship Id="rId362" Type="http://schemas.openxmlformats.org/officeDocument/2006/relationships/tags" Target="../tags/tag743.xml"/><Relationship Id="rId363" Type="http://schemas.openxmlformats.org/officeDocument/2006/relationships/tags" Target="../tags/tag744.xml"/><Relationship Id="rId364" Type="http://schemas.openxmlformats.org/officeDocument/2006/relationships/tags" Target="../tags/tag745.xml"/><Relationship Id="rId365" Type="http://schemas.openxmlformats.org/officeDocument/2006/relationships/tags" Target="../tags/tag746.xml"/><Relationship Id="rId366" Type="http://schemas.openxmlformats.org/officeDocument/2006/relationships/tags" Target="../tags/tag747.xml"/><Relationship Id="rId367" Type="http://schemas.openxmlformats.org/officeDocument/2006/relationships/tags" Target="../tags/tag748.xml"/><Relationship Id="rId368" Type="http://schemas.openxmlformats.org/officeDocument/2006/relationships/tags" Target="../tags/tag749.xml"/><Relationship Id="rId369" Type="http://schemas.openxmlformats.org/officeDocument/2006/relationships/tags" Target="../tags/tag750.xml"/><Relationship Id="rId90" Type="http://schemas.openxmlformats.org/officeDocument/2006/relationships/tags" Target="../tags/tag471.xml"/><Relationship Id="rId91" Type="http://schemas.openxmlformats.org/officeDocument/2006/relationships/tags" Target="../tags/tag472.xml"/><Relationship Id="rId92" Type="http://schemas.openxmlformats.org/officeDocument/2006/relationships/tags" Target="../tags/tag473.xml"/><Relationship Id="rId93" Type="http://schemas.openxmlformats.org/officeDocument/2006/relationships/tags" Target="../tags/tag474.xml"/><Relationship Id="rId94" Type="http://schemas.openxmlformats.org/officeDocument/2006/relationships/tags" Target="../tags/tag475.xml"/><Relationship Id="rId95" Type="http://schemas.openxmlformats.org/officeDocument/2006/relationships/tags" Target="../tags/tag476.xml"/><Relationship Id="rId96" Type="http://schemas.openxmlformats.org/officeDocument/2006/relationships/tags" Target="../tags/tag477.xml"/><Relationship Id="rId97" Type="http://schemas.openxmlformats.org/officeDocument/2006/relationships/tags" Target="../tags/tag478.xml"/><Relationship Id="rId98" Type="http://schemas.openxmlformats.org/officeDocument/2006/relationships/tags" Target="../tags/tag479.xml"/><Relationship Id="rId99" Type="http://schemas.openxmlformats.org/officeDocument/2006/relationships/tags" Target="../tags/tag480.xml"/><Relationship Id="rId190" Type="http://schemas.openxmlformats.org/officeDocument/2006/relationships/tags" Target="../tags/tag571.xml"/><Relationship Id="rId191" Type="http://schemas.openxmlformats.org/officeDocument/2006/relationships/tags" Target="../tags/tag572.xml"/><Relationship Id="rId192" Type="http://schemas.openxmlformats.org/officeDocument/2006/relationships/tags" Target="../tags/tag573.xml"/><Relationship Id="rId193" Type="http://schemas.openxmlformats.org/officeDocument/2006/relationships/tags" Target="../tags/tag574.xml"/><Relationship Id="rId194" Type="http://schemas.openxmlformats.org/officeDocument/2006/relationships/tags" Target="../tags/tag575.xml"/><Relationship Id="rId195" Type="http://schemas.openxmlformats.org/officeDocument/2006/relationships/tags" Target="../tags/tag576.xml"/><Relationship Id="rId196" Type="http://schemas.openxmlformats.org/officeDocument/2006/relationships/tags" Target="../tags/tag577.xml"/><Relationship Id="rId197" Type="http://schemas.openxmlformats.org/officeDocument/2006/relationships/tags" Target="../tags/tag578.xml"/><Relationship Id="rId198" Type="http://schemas.openxmlformats.org/officeDocument/2006/relationships/tags" Target="../tags/tag579.xml"/><Relationship Id="rId199" Type="http://schemas.openxmlformats.org/officeDocument/2006/relationships/tags" Target="../tags/tag580.xml"/><Relationship Id="rId280" Type="http://schemas.openxmlformats.org/officeDocument/2006/relationships/tags" Target="../tags/tag661.xml"/><Relationship Id="rId30" Type="http://schemas.openxmlformats.org/officeDocument/2006/relationships/tags" Target="../tags/tag411.xml"/><Relationship Id="rId31" Type="http://schemas.openxmlformats.org/officeDocument/2006/relationships/tags" Target="../tags/tag412.xml"/><Relationship Id="rId32" Type="http://schemas.openxmlformats.org/officeDocument/2006/relationships/tags" Target="../tags/tag413.xml"/><Relationship Id="rId33" Type="http://schemas.openxmlformats.org/officeDocument/2006/relationships/tags" Target="../tags/tag414.xml"/><Relationship Id="rId34" Type="http://schemas.openxmlformats.org/officeDocument/2006/relationships/tags" Target="../tags/tag415.xml"/><Relationship Id="rId35" Type="http://schemas.openxmlformats.org/officeDocument/2006/relationships/tags" Target="../tags/tag416.xml"/><Relationship Id="rId36" Type="http://schemas.openxmlformats.org/officeDocument/2006/relationships/tags" Target="../tags/tag417.xml"/><Relationship Id="rId37" Type="http://schemas.openxmlformats.org/officeDocument/2006/relationships/tags" Target="../tags/tag418.xml"/><Relationship Id="rId38" Type="http://schemas.openxmlformats.org/officeDocument/2006/relationships/tags" Target="../tags/tag419.xml"/><Relationship Id="rId39" Type="http://schemas.openxmlformats.org/officeDocument/2006/relationships/tags" Target="../tags/tag420.xml"/><Relationship Id="rId281" Type="http://schemas.openxmlformats.org/officeDocument/2006/relationships/tags" Target="../tags/tag662.xml"/><Relationship Id="rId282" Type="http://schemas.openxmlformats.org/officeDocument/2006/relationships/tags" Target="../tags/tag663.xml"/><Relationship Id="rId283" Type="http://schemas.openxmlformats.org/officeDocument/2006/relationships/tags" Target="../tags/tag664.xml"/><Relationship Id="rId284" Type="http://schemas.openxmlformats.org/officeDocument/2006/relationships/tags" Target="../tags/tag665.xml"/><Relationship Id="rId130" Type="http://schemas.openxmlformats.org/officeDocument/2006/relationships/tags" Target="../tags/tag511.xml"/><Relationship Id="rId131" Type="http://schemas.openxmlformats.org/officeDocument/2006/relationships/tags" Target="../tags/tag512.xml"/><Relationship Id="rId132" Type="http://schemas.openxmlformats.org/officeDocument/2006/relationships/tags" Target="../tags/tag513.xml"/><Relationship Id="rId133" Type="http://schemas.openxmlformats.org/officeDocument/2006/relationships/tags" Target="../tags/tag514.xml"/><Relationship Id="rId220" Type="http://schemas.openxmlformats.org/officeDocument/2006/relationships/tags" Target="../tags/tag601.xml"/><Relationship Id="rId221" Type="http://schemas.openxmlformats.org/officeDocument/2006/relationships/tags" Target="../tags/tag602.xml"/><Relationship Id="rId222" Type="http://schemas.openxmlformats.org/officeDocument/2006/relationships/tags" Target="../tags/tag603.xml"/><Relationship Id="rId223" Type="http://schemas.openxmlformats.org/officeDocument/2006/relationships/tags" Target="../tags/tag604.xml"/><Relationship Id="rId224" Type="http://schemas.openxmlformats.org/officeDocument/2006/relationships/tags" Target="../tags/tag605.xml"/><Relationship Id="rId225" Type="http://schemas.openxmlformats.org/officeDocument/2006/relationships/tags" Target="../tags/tag606.xml"/><Relationship Id="rId226" Type="http://schemas.openxmlformats.org/officeDocument/2006/relationships/tags" Target="../tags/tag607.xml"/><Relationship Id="rId227" Type="http://schemas.openxmlformats.org/officeDocument/2006/relationships/tags" Target="../tags/tag608.xml"/><Relationship Id="rId228" Type="http://schemas.openxmlformats.org/officeDocument/2006/relationships/tags" Target="../tags/tag609.xml"/><Relationship Id="rId229" Type="http://schemas.openxmlformats.org/officeDocument/2006/relationships/tags" Target="../tags/tag610.xml"/><Relationship Id="rId134" Type="http://schemas.openxmlformats.org/officeDocument/2006/relationships/tags" Target="../tags/tag515.xml"/><Relationship Id="rId135" Type="http://schemas.openxmlformats.org/officeDocument/2006/relationships/tags" Target="../tags/tag516.xml"/><Relationship Id="rId136" Type="http://schemas.openxmlformats.org/officeDocument/2006/relationships/tags" Target="../tags/tag517.xml"/><Relationship Id="rId137" Type="http://schemas.openxmlformats.org/officeDocument/2006/relationships/tags" Target="../tags/tag518.xml"/><Relationship Id="rId138" Type="http://schemas.openxmlformats.org/officeDocument/2006/relationships/tags" Target="../tags/tag519.xml"/><Relationship Id="rId139" Type="http://schemas.openxmlformats.org/officeDocument/2006/relationships/tags" Target="../tags/tag520.xml"/><Relationship Id="rId285" Type="http://schemas.openxmlformats.org/officeDocument/2006/relationships/tags" Target="../tags/tag666.xml"/><Relationship Id="rId286" Type="http://schemas.openxmlformats.org/officeDocument/2006/relationships/tags" Target="../tags/tag667.xml"/><Relationship Id="rId287" Type="http://schemas.openxmlformats.org/officeDocument/2006/relationships/tags" Target="../tags/tag668.xml"/><Relationship Id="rId288" Type="http://schemas.openxmlformats.org/officeDocument/2006/relationships/tags" Target="../tags/tag669.xml"/><Relationship Id="rId289" Type="http://schemas.openxmlformats.org/officeDocument/2006/relationships/tags" Target="../tags/tag670.xml"/><Relationship Id="rId310" Type="http://schemas.openxmlformats.org/officeDocument/2006/relationships/tags" Target="../tags/tag691.xml"/><Relationship Id="rId311" Type="http://schemas.openxmlformats.org/officeDocument/2006/relationships/tags" Target="../tags/tag692.xml"/><Relationship Id="rId312" Type="http://schemas.openxmlformats.org/officeDocument/2006/relationships/tags" Target="../tags/tag693.xml"/><Relationship Id="rId313" Type="http://schemas.openxmlformats.org/officeDocument/2006/relationships/tags" Target="../tags/tag694.xml"/><Relationship Id="rId314" Type="http://schemas.openxmlformats.org/officeDocument/2006/relationships/tags" Target="../tags/tag695.xml"/><Relationship Id="rId315" Type="http://schemas.openxmlformats.org/officeDocument/2006/relationships/tags" Target="../tags/tag696.xml"/><Relationship Id="rId316" Type="http://schemas.openxmlformats.org/officeDocument/2006/relationships/tags" Target="../tags/tag697.xml"/><Relationship Id="rId317" Type="http://schemas.openxmlformats.org/officeDocument/2006/relationships/tags" Target="../tags/tag698.xml"/><Relationship Id="rId318" Type="http://schemas.openxmlformats.org/officeDocument/2006/relationships/tags" Target="../tags/tag699.xml"/><Relationship Id="rId319" Type="http://schemas.openxmlformats.org/officeDocument/2006/relationships/tags" Target="../tags/tag700.xml"/><Relationship Id="rId370" Type="http://schemas.openxmlformats.org/officeDocument/2006/relationships/tags" Target="../tags/tag751.xml"/><Relationship Id="rId371" Type="http://schemas.openxmlformats.org/officeDocument/2006/relationships/tags" Target="../tags/tag752.xml"/><Relationship Id="rId372" Type="http://schemas.openxmlformats.org/officeDocument/2006/relationships/tags" Target="../tags/tag753.xml"/><Relationship Id="rId373" Type="http://schemas.openxmlformats.org/officeDocument/2006/relationships/tags" Target="../tags/tag754.xml"/><Relationship Id="rId374" Type="http://schemas.openxmlformats.org/officeDocument/2006/relationships/tags" Target="../tags/tag755.xml"/><Relationship Id="rId375" Type="http://schemas.openxmlformats.org/officeDocument/2006/relationships/tags" Target="../tags/tag756.xml"/><Relationship Id="rId376" Type="http://schemas.openxmlformats.org/officeDocument/2006/relationships/tags" Target="../tags/tag757.xml"/><Relationship Id="rId377" Type="http://schemas.openxmlformats.org/officeDocument/2006/relationships/tags" Target="../tags/tag758.xml"/><Relationship Id="rId378" Type="http://schemas.openxmlformats.org/officeDocument/2006/relationships/tags" Target="../tags/tag759.xml"/><Relationship Id="rId379" Type="http://schemas.openxmlformats.org/officeDocument/2006/relationships/tags" Target="../tags/tag760.xml"/><Relationship Id="rId290" Type="http://schemas.openxmlformats.org/officeDocument/2006/relationships/tags" Target="../tags/tag671.xml"/><Relationship Id="rId291" Type="http://schemas.openxmlformats.org/officeDocument/2006/relationships/tags" Target="../tags/tag672.xml"/><Relationship Id="rId292" Type="http://schemas.openxmlformats.org/officeDocument/2006/relationships/tags" Target="../tags/tag673.xml"/><Relationship Id="rId293" Type="http://schemas.openxmlformats.org/officeDocument/2006/relationships/tags" Target="../tags/tag674.xml"/><Relationship Id="rId294" Type="http://schemas.openxmlformats.org/officeDocument/2006/relationships/tags" Target="../tags/tag675.xml"/><Relationship Id="rId295" Type="http://schemas.openxmlformats.org/officeDocument/2006/relationships/tags" Target="../tags/tag676.xml"/><Relationship Id="rId296" Type="http://schemas.openxmlformats.org/officeDocument/2006/relationships/tags" Target="../tags/tag677.xml"/><Relationship Id="rId40" Type="http://schemas.openxmlformats.org/officeDocument/2006/relationships/tags" Target="../tags/tag421.xml"/><Relationship Id="rId41" Type="http://schemas.openxmlformats.org/officeDocument/2006/relationships/tags" Target="../tags/tag422.xml"/><Relationship Id="rId42" Type="http://schemas.openxmlformats.org/officeDocument/2006/relationships/tags" Target="../tags/tag423.xml"/><Relationship Id="rId43" Type="http://schemas.openxmlformats.org/officeDocument/2006/relationships/tags" Target="../tags/tag424.xml"/><Relationship Id="rId44" Type="http://schemas.openxmlformats.org/officeDocument/2006/relationships/tags" Target="../tags/tag425.xml"/><Relationship Id="rId45" Type="http://schemas.openxmlformats.org/officeDocument/2006/relationships/tags" Target="../tags/tag426.xml"/><Relationship Id="rId46" Type="http://schemas.openxmlformats.org/officeDocument/2006/relationships/tags" Target="../tags/tag427.xml"/><Relationship Id="rId47" Type="http://schemas.openxmlformats.org/officeDocument/2006/relationships/tags" Target="../tags/tag428.xml"/><Relationship Id="rId48" Type="http://schemas.openxmlformats.org/officeDocument/2006/relationships/tags" Target="../tags/tag429.xml"/><Relationship Id="rId49" Type="http://schemas.openxmlformats.org/officeDocument/2006/relationships/tags" Target="../tags/tag430.xml"/><Relationship Id="rId297" Type="http://schemas.openxmlformats.org/officeDocument/2006/relationships/tags" Target="../tags/tag678.xml"/><Relationship Id="rId298" Type="http://schemas.openxmlformats.org/officeDocument/2006/relationships/tags" Target="../tags/tag679.xml"/><Relationship Id="rId299" Type="http://schemas.openxmlformats.org/officeDocument/2006/relationships/tags" Target="../tags/tag680.xml"/><Relationship Id="rId380" Type="http://schemas.openxmlformats.org/officeDocument/2006/relationships/tags" Target="../tags/tag761.xml"/><Relationship Id="rId140" Type="http://schemas.openxmlformats.org/officeDocument/2006/relationships/tags" Target="../tags/tag521.xml"/><Relationship Id="rId141" Type="http://schemas.openxmlformats.org/officeDocument/2006/relationships/tags" Target="../tags/tag522.xml"/><Relationship Id="rId142" Type="http://schemas.openxmlformats.org/officeDocument/2006/relationships/tags" Target="../tags/tag523.xml"/><Relationship Id="rId143" Type="http://schemas.openxmlformats.org/officeDocument/2006/relationships/tags" Target="../tags/tag524.xml"/><Relationship Id="rId144" Type="http://schemas.openxmlformats.org/officeDocument/2006/relationships/tags" Target="../tags/tag525.xml"/><Relationship Id="rId145" Type="http://schemas.openxmlformats.org/officeDocument/2006/relationships/tags" Target="../tags/tag526.xml"/><Relationship Id="rId146" Type="http://schemas.openxmlformats.org/officeDocument/2006/relationships/tags" Target="../tags/tag527.xml"/><Relationship Id="rId147" Type="http://schemas.openxmlformats.org/officeDocument/2006/relationships/tags" Target="../tags/tag528.xml"/><Relationship Id="rId148" Type="http://schemas.openxmlformats.org/officeDocument/2006/relationships/tags" Target="../tags/tag529.xml"/><Relationship Id="rId149" Type="http://schemas.openxmlformats.org/officeDocument/2006/relationships/tags" Target="../tags/tag530.xml"/><Relationship Id="rId230" Type="http://schemas.openxmlformats.org/officeDocument/2006/relationships/tags" Target="../tags/tag611.xml"/><Relationship Id="rId231" Type="http://schemas.openxmlformats.org/officeDocument/2006/relationships/tags" Target="../tags/tag612.xml"/><Relationship Id="rId232" Type="http://schemas.openxmlformats.org/officeDocument/2006/relationships/tags" Target="../tags/tag613.xml"/><Relationship Id="rId233" Type="http://schemas.openxmlformats.org/officeDocument/2006/relationships/tags" Target="../tags/tag614.xml"/><Relationship Id="rId234" Type="http://schemas.openxmlformats.org/officeDocument/2006/relationships/tags" Target="../tags/tag615.xml"/><Relationship Id="rId235" Type="http://schemas.openxmlformats.org/officeDocument/2006/relationships/tags" Target="../tags/tag616.xml"/><Relationship Id="rId236" Type="http://schemas.openxmlformats.org/officeDocument/2006/relationships/tags" Target="../tags/tag617.xml"/><Relationship Id="rId237" Type="http://schemas.openxmlformats.org/officeDocument/2006/relationships/tags" Target="../tags/tag618.xml"/><Relationship Id="rId238" Type="http://schemas.openxmlformats.org/officeDocument/2006/relationships/tags" Target="../tags/tag619.xml"/><Relationship Id="rId239" Type="http://schemas.openxmlformats.org/officeDocument/2006/relationships/tags" Target="../tags/tag620.xml"/><Relationship Id="rId320" Type="http://schemas.openxmlformats.org/officeDocument/2006/relationships/tags" Target="../tags/tag701.xml"/><Relationship Id="rId321" Type="http://schemas.openxmlformats.org/officeDocument/2006/relationships/tags" Target="../tags/tag702.xml"/><Relationship Id="rId322" Type="http://schemas.openxmlformats.org/officeDocument/2006/relationships/tags" Target="../tags/tag703.xml"/><Relationship Id="rId323" Type="http://schemas.openxmlformats.org/officeDocument/2006/relationships/tags" Target="../tags/tag704.xml"/><Relationship Id="rId324" Type="http://schemas.openxmlformats.org/officeDocument/2006/relationships/tags" Target="../tags/tag705.xml"/><Relationship Id="rId325" Type="http://schemas.openxmlformats.org/officeDocument/2006/relationships/tags" Target="../tags/tag706.xml"/><Relationship Id="rId326" Type="http://schemas.openxmlformats.org/officeDocument/2006/relationships/tags" Target="../tags/tag707.xml"/><Relationship Id="rId327" Type="http://schemas.openxmlformats.org/officeDocument/2006/relationships/tags" Target="../tags/tag708.xml"/><Relationship Id="rId328" Type="http://schemas.openxmlformats.org/officeDocument/2006/relationships/tags" Target="../tags/tag709.xml"/><Relationship Id="rId329" Type="http://schemas.openxmlformats.org/officeDocument/2006/relationships/tags" Target="../tags/tag710.xml"/><Relationship Id="rId381" Type="http://schemas.openxmlformats.org/officeDocument/2006/relationships/tags" Target="../tags/tag762.xml"/><Relationship Id="rId382" Type="http://schemas.openxmlformats.org/officeDocument/2006/relationships/slideLayout" Target="../slideLayouts/slideLayout2.xml"/><Relationship Id="rId383" Type="http://schemas.openxmlformats.org/officeDocument/2006/relationships/notesSlide" Target="../notesSlides/notesSlide11.xml"/><Relationship Id="rId50" Type="http://schemas.openxmlformats.org/officeDocument/2006/relationships/tags" Target="../tags/tag431.xml"/><Relationship Id="rId51" Type="http://schemas.openxmlformats.org/officeDocument/2006/relationships/tags" Target="../tags/tag432.xml"/><Relationship Id="rId52" Type="http://schemas.openxmlformats.org/officeDocument/2006/relationships/tags" Target="../tags/tag433.xml"/><Relationship Id="rId53" Type="http://schemas.openxmlformats.org/officeDocument/2006/relationships/tags" Target="../tags/tag434.xml"/><Relationship Id="rId54" Type="http://schemas.openxmlformats.org/officeDocument/2006/relationships/tags" Target="../tags/tag435.xml"/><Relationship Id="rId55" Type="http://schemas.openxmlformats.org/officeDocument/2006/relationships/tags" Target="../tags/tag436.xml"/><Relationship Id="rId56" Type="http://schemas.openxmlformats.org/officeDocument/2006/relationships/tags" Target="../tags/tag437.xml"/><Relationship Id="rId57" Type="http://schemas.openxmlformats.org/officeDocument/2006/relationships/tags" Target="../tags/tag438.xml"/><Relationship Id="rId58" Type="http://schemas.openxmlformats.org/officeDocument/2006/relationships/tags" Target="../tags/tag439.xml"/><Relationship Id="rId59" Type="http://schemas.openxmlformats.org/officeDocument/2006/relationships/tags" Target="../tags/tag440.xml"/><Relationship Id="rId150" Type="http://schemas.openxmlformats.org/officeDocument/2006/relationships/tags" Target="../tags/tag531.xml"/><Relationship Id="rId151" Type="http://schemas.openxmlformats.org/officeDocument/2006/relationships/tags" Target="../tags/tag532.xml"/><Relationship Id="rId152" Type="http://schemas.openxmlformats.org/officeDocument/2006/relationships/tags" Target="../tags/tag533.xml"/><Relationship Id="rId153" Type="http://schemas.openxmlformats.org/officeDocument/2006/relationships/tags" Target="../tags/tag534.xml"/><Relationship Id="rId154" Type="http://schemas.openxmlformats.org/officeDocument/2006/relationships/tags" Target="../tags/tag535.xml"/><Relationship Id="rId155" Type="http://schemas.openxmlformats.org/officeDocument/2006/relationships/tags" Target="../tags/tag536.xml"/><Relationship Id="rId156" Type="http://schemas.openxmlformats.org/officeDocument/2006/relationships/tags" Target="../tags/tag537.xml"/><Relationship Id="rId157" Type="http://schemas.openxmlformats.org/officeDocument/2006/relationships/tags" Target="../tags/tag538.xml"/><Relationship Id="rId158" Type="http://schemas.openxmlformats.org/officeDocument/2006/relationships/tags" Target="../tags/tag539.xml"/><Relationship Id="rId159" Type="http://schemas.openxmlformats.org/officeDocument/2006/relationships/tags" Target="../tags/tag540.xml"/><Relationship Id="rId240" Type="http://schemas.openxmlformats.org/officeDocument/2006/relationships/tags" Target="../tags/tag621.xml"/><Relationship Id="rId241" Type="http://schemas.openxmlformats.org/officeDocument/2006/relationships/tags" Target="../tags/tag622.xml"/><Relationship Id="rId242" Type="http://schemas.openxmlformats.org/officeDocument/2006/relationships/tags" Target="../tags/tag623.xml"/><Relationship Id="rId243" Type="http://schemas.openxmlformats.org/officeDocument/2006/relationships/tags" Target="../tags/tag624.xml"/><Relationship Id="rId244" Type="http://schemas.openxmlformats.org/officeDocument/2006/relationships/tags" Target="../tags/tag625.xml"/><Relationship Id="rId245" Type="http://schemas.openxmlformats.org/officeDocument/2006/relationships/tags" Target="../tags/tag626.xml"/><Relationship Id="rId246" Type="http://schemas.openxmlformats.org/officeDocument/2006/relationships/tags" Target="../tags/tag627.xml"/><Relationship Id="rId247" Type="http://schemas.openxmlformats.org/officeDocument/2006/relationships/tags" Target="../tags/tag628.xml"/><Relationship Id="rId248" Type="http://schemas.openxmlformats.org/officeDocument/2006/relationships/tags" Target="../tags/tag629.xml"/><Relationship Id="rId249" Type="http://schemas.openxmlformats.org/officeDocument/2006/relationships/tags" Target="../tags/tag630.xml"/><Relationship Id="rId330" Type="http://schemas.openxmlformats.org/officeDocument/2006/relationships/tags" Target="../tags/tag711.xml"/><Relationship Id="rId331" Type="http://schemas.openxmlformats.org/officeDocument/2006/relationships/tags" Target="../tags/tag712.xml"/><Relationship Id="rId332" Type="http://schemas.openxmlformats.org/officeDocument/2006/relationships/tags" Target="../tags/tag713.xml"/><Relationship Id="rId333" Type="http://schemas.openxmlformats.org/officeDocument/2006/relationships/tags" Target="../tags/tag714.xml"/><Relationship Id="rId334" Type="http://schemas.openxmlformats.org/officeDocument/2006/relationships/tags" Target="../tags/tag715.xml"/><Relationship Id="rId335" Type="http://schemas.openxmlformats.org/officeDocument/2006/relationships/tags" Target="../tags/tag716.xml"/><Relationship Id="rId336" Type="http://schemas.openxmlformats.org/officeDocument/2006/relationships/tags" Target="../tags/tag717.xml"/><Relationship Id="rId337" Type="http://schemas.openxmlformats.org/officeDocument/2006/relationships/tags" Target="../tags/tag718.xml"/><Relationship Id="rId338" Type="http://schemas.openxmlformats.org/officeDocument/2006/relationships/tags" Target="../tags/tag719.xml"/><Relationship Id="rId339" Type="http://schemas.openxmlformats.org/officeDocument/2006/relationships/tags" Target="../tags/tag720.xml"/><Relationship Id="rId60" Type="http://schemas.openxmlformats.org/officeDocument/2006/relationships/tags" Target="../tags/tag441.xml"/><Relationship Id="rId61" Type="http://schemas.openxmlformats.org/officeDocument/2006/relationships/tags" Target="../tags/tag442.xml"/><Relationship Id="rId62" Type="http://schemas.openxmlformats.org/officeDocument/2006/relationships/tags" Target="../tags/tag443.xml"/><Relationship Id="rId63" Type="http://schemas.openxmlformats.org/officeDocument/2006/relationships/tags" Target="../tags/tag444.xml"/><Relationship Id="rId64" Type="http://schemas.openxmlformats.org/officeDocument/2006/relationships/tags" Target="../tags/tag445.xml"/><Relationship Id="rId65" Type="http://schemas.openxmlformats.org/officeDocument/2006/relationships/tags" Target="../tags/tag446.xml"/><Relationship Id="rId66" Type="http://schemas.openxmlformats.org/officeDocument/2006/relationships/tags" Target="../tags/tag447.xml"/><Relationship Id="rId67" Type="http://schemas.openxmlformats.org/officeDocument/2006/relationships/tags" Target="../tags/tag448.xml"/><Relationship Id="rId68" Type="http://schemas.openxmlformats.org/officeDocument/2006/relationships/tags" Target="../tags/tag449.xml"/><Relationship Id="rId69" Type="http://schemas.openxmlformats.org/officeDocument/2006/relationships/tags" Target="../tags/tag450.xml"/><Relationship Id="rId160" Type="http://schemas.openxmlformats.org/officeDocument/2006/relationships/tags" Target="../tags/tag541.xml"/><Relationship Id="rId161" Type="http://schemas.openxmlformats.org/officeDocument/2006/relationships/tags" Target="../tags/tag542.xml"/><Relationship Id="rId162" Type="http://schemas.openxmlformats.org/officeDocument/2006/relationships/tags" Target="../tags/tag543.xml"/><Relationship Id="rId163" Type="http://schemas.openxmlformats.org/officeDocument/2006/relationships/tags" Target="../tags/tag544.xml"/><Relationship Id="rId164" Type="http://schemas.openxmlformats.org/officeDocument/2006/relationships/tags" Target="../tags/tag545.xml"/><Relationship Id="rId165" Type="http://schemas.openxmlformats.org/officeDocument/2006/relationships/tags" Target="../tags/tag546.xml"/><Relationship Id="rId166" Type="http://schemas.openxmlformats.org/officeDocument/2006/relationships/tags" Target="../tags/tag547.xml"/><Relationship Id="rId167" Type="http://schemas.openxmlformats.org/officeDocument/2006/relationships/tags" Target="../tags/tag548.xml"/><Relationship Id="rId168" Type="http://schemas.openxmlformats.org/officeDocument/2006/relationships/tags" Target="../tags/tag549.xml"/><Relationship Id="rId169" Type="http://schemas.openxmlformats.org/officeDocument/2006/relationships/tags" Target="../tags/tag550.xml"/><Relationship Id="rId250" Type="http://schemas.openxmlformats.org/officeDocument/2006/relationships/tags" Target="../tags/tag631.xml"/><Relationship Id="rId251" Type="http://schemas.openxmlformats.org/officeDocument/2006/relationships/tags" Target="../tags/tag632.xml"/><Relationship Id="rId252" Type="http://schemas.openxmlformats.org/officeDocument/2006/relationships/tags" Target="../tags/tag633.xml"/><Relationship Id="rId253" Type="http://schemas.openxmlformats.org/officeDocument/2006/relationships/tags" Target="../tags/tag634.xml"/><Relationship Id="rId254" Type="http://schemas.openxmlformats.org/officeDocument/2006/relationships/tags" Target="../tags/tag635.xml"/><Relationship Id="rId255" Type="http://schemas.openxmlformats.org/officeDocument/2006/relationships/tags" Target="../tags/tag636.xml"/><Relationship Id="rId256" Type="http://schemas.openxmlformats.org/officeDocument/2006/relationships/tags" Target="../tags/tag637.xml"/><Relationship Id="rId257" Type="http://schemas.openxmlformats.org/officeDocument/2006/relationships/tags" Target="../tags/tag638.xml"/><Relationship Id="rId258" Type="http://schemas.openxmlformats.org/officeDocument/2006/relationships/tags" Target="../tags/tag639.xml"/><Relationship Id="rId259" Type="http://schemas.openxmlformats.org/officeDocument/2006/relationships/tags" Target="../tags/tag640.xml"/><Relationship Id="rId340" Type="http://schemas.openxmlformats.org/officeDocument/2006/relationships/tags" Target="../tags/tag721.xml"/><Relationship Id="rId341" Type="http://schemas.openxmlformats.org/officeDocument/2006/relationships/tags" Target="../tags/tag722.xml"/><Relationship Id="rId342" Type="http://schemas.openxmlformats.org/officeDocument/2006/relationships/tags" Target="../tags/tag723.xml"/><Relationship Id="rId343" Type="http://schemas.openxmlformats.org/officeDocument/2006/relationships/tags" Target="../tags/tag724.xml"/><Relationship Id="rId344" Type="http://schemas.openxmlformats.org/officeDocument/2006/relationships/tags" Target="../tags/tag725.xml"/><Relationship Id="rId100" Type="http://schemas.openxmlformats.org/officeDocument/2006/relationships/tags" Target="../tags/tag481.xml"/><Relationship Id="rId101" Type="http://schemas.openxmlformats.org/officeDocument/2006/relationships/tags" Target="../tags/tag482.xml"/><Relationship Id="rId102" Type="http://schemas.openxmlformats.org/officeDocument/2006/relationships/tags" Target="../tags/tag483.xml"/><Relationship Id="rId103" Type="http://schemas.openxmlformats.org/officeDocument/2006/relationships/tags" Target="../tags/tag484.xml"/><Relationship Id="rId104" Type="http://schemas.openxmlformats.org/officeDocument/2006/relationships/tags" Target="../tags/tag485.xml"/><Relationship Id="rId105" Type="http://schemas.openxmlformats.org/officeDocument/2006/relationships/tags" Target="../tags/tag48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jpe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106" Type="http://schemas.openxmlformats.org/officeDocument/2006/relationships/tags" Target="../tags/tag106.xml"/><Relationship Id="rId107" Type="http://schemas.openxmlformats.org/officeDocument/2006/relationships/tags" Target="../tags/tag107.xml"/><Relationship Id="rId108" Type="http://schemas.openxmlformats.org/officeDocument/2006/relationships/tags" Target="../tags/tag108.xml"/><Relationship Id="rId109" Type="http://schemas.openxmlformats.org/officeDocument/2006/relationships/tags" Target="../tags/tag109.xml"/><Relationship Id="rId345" Type="http://schemas.openxmlformats.org/officeDocument/2006/relationships/tags" Target="../tags/tag345.xml"/><Relationship Id="rId346" Type="http://schemas.openxmlformats.org/officeDocument/2006/relationships/tags" Target="../tags/tag346.xml"/><Relationship Id="rId347" Type="http://schemas.openxmlformats.org/officeDocument/2006/relationships/tags" Target="../tags/tag347.xml"/><Relationship Id="rId348" Type="http://schemas.openxmlformats.org/officeDocument/2006/relationships/tags" Target="../tags/tag348.xml"/><Relationship Id="rId349" Type="http://schemas.openxmlformats.org/officeDocument/2006/relationships/tags" Target="../tags/tag349.xml"/><Relationship Id="rId70" Type="http://schemas.openxmlformats.org/officeDocument/2006/relationships/tags" Target="../tags/tag70.xml"/><Relationship Id="rId71" Type="http://schemas.openxmlformats.org/officeDocument/2006/relationships/tags" Target="../tags/tag71.xml"/><Relationship Id="rId72" Type="http://schemas.openxmlformats.org/officeDocument/2006/relationships/tags" Target="../tags/tag72.xml"/><Relationship Id="rId73" Type="http://schemas.openxmlformats.org/officeDocument/2006/relationships/tags" Target="../tags/tag73.xml"/><Relationship Id="rId74" Type="http://schemas.openxmlformats.org/officeDocument/2006/relationships/tags" Target="../tags/tag74.xml"/><Relationship Id="rId75" Type="http://schemas.openxmlformats.org/officeDocument/2006/relationships/tags" Target="../tags/tag75.xml"/><Relationship Id="rId76" Type="http://schemas.openxmlformats.org/officeDocument/2006/relationships/tags" Target="../tags/tag76.xml"/><Relationship Id="rId77" Type="http://schemas.openxmlformats.org/officeDocument/2006/relationships/tags" Target="../tags/tag77.xml"/><Relationship Id="rId78" Type="http://schemas.openxmlformats.org/officeDocument/2006/relationships/tags" Target="../tags/tag78.xml"/><Relationship Id="rId79" Type="http://schemas.openxmlformats.org/officeDocument/2006/relationships/tags" Target="../tags/tag79.xml"/><Relationship Id="rId170" Type="http://schemas.openxmlformats.org/officeDocument/2006/relationships/tags" Target="../tags/tag170.xml"/><Relationship Id="rId171" Type="http://schemas.openxmlformats.org/officeDocument/2006/relationships/tags" Target="../tags/tag171.xml"/><Relationship Id="rId172" Type="http://schemas.openxmlformats.org/officeDocument/2006/relationships/tags" Target="../tags/tag172.xml"/><Relationship Id="rId173" Type="http://schemas.openxmlformats.org/officeDocument/2006/relationships/tags" Target="../tags/tag173.xml"/><Relationship Id="rId174" Type="http://schemas.openxmlformats.org/officeDocument/2006/relationships/tags" Target="../tags/tag174.xml"/><Relationship Id="rId175" Type="http://schemas.openxmlformats.org/officeDocument/2006/relationships/tags" Target="../tags/tag175.xml"/><Relationship Id="rId176" Type="http://schemas.openxmlformats.org/officeDocument/2006/relationships/tags" Target="../tags/tag176.xml"/><Relationship Id="rId177" Type="http://schemas.openxmlformats.org/officeDocument/2006/relationships/tags" Target="../tags/tag177.xml"/><Relationship Id="rId178" Type="http://schemas.openxmlformats.org/officeDocument/2006/relationships/tags" Target="../tags/tag178.xml"/><Relationship Id="rId179" Type="http://schemas.openxmlformats.org/officeDocument/2006/relationships/tags" Target="../tags/tag179.xml"/><Relationship Id="rId260" Type="http://schemas.openxmlformats.org/officeDocument/2006/relationships/tags" Target="../tags/tag260.xml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tags" Target="../tags/tag15.xml"/><Relationship Id="rId16" Type="http://schemas.openxmlformats.org/officeDocument/2006/relationships/tags" Target="../tags/tag16.xml"/><Relationship Id="rId17" Type="http://schemas.openxmlformats.org/officeDocument/2006/relationships/tags" Target="../tags/tag17.xml"/><Relationship Id="rId18" Type="http://schemas.openxmlformats.org/officeDocument/2006/relationships/tags" Target="../tags/tag18.xml"/><Relationship Id="rId19" Type="http://schemas.openxmlformats.org/officeDocument/2006/relationships/tags" Target="../tags/tag19.xml"/><Relationship Id="rId261" Type="http://schemas.openxmlformats.org/officeDocument/2006/relationships/tags" Target="../tags/tag261.xml"/><Relationship Id="rId262" Type="http://schemas.openxmlformats.org/officeDocument/2006/relationships/tags" Target="../tags/tag262.xml"/><Relationship Id="rId263" Type="http://schemas.openxmlformats.org/officeDocument/2006/relationships/tags" Target="../tags/tag263.xml"/><Relationship Id="rId264" Type="http://schemas.openxmlformats.org/officeDocument/2006/relationships/tags" Target="../tags/tag264.xml"/><Relationship Id="rId110" Type="http://schemas.openxmlformats.org/officeDocument/2006/relationships/tags" Target="../tags/tag110.xml"/><Relationship Id="rId111" Type="http://schemas.openxmlformats.org/officeDocument/2006/relationships/tags" Target="../tags/tag111.xml"/><Relationship Id="rId112" Type="http://schemas.openxmlformats.org/officeDocument/2006/relationships/tags" Target="../tags/tag112.xml"/><Relationship Id="rId113" Type="http://schemas.openxmlformats.org/officeDocument/2006/relationships/tags" Target="../tags/tag113.xml"/><Relationship Id="rId114" Type="http://schemas.openxmlformats.org/officeDocument/2006/relationships/tags" Target="../tags/tag114.xml"/><Relationship Id="rId115" Type="http://schemas.openxmlformats.org/officeDocument/2006/relationships/tags" Target="../tags/tag115.xml"/><Relationship Id="rId116" Type="http://schemas.openxmlformats.org/officeDocument/2006/relationships/tags" Target="../tags/tag116.xml"/><Relationship Id="rId117" Type="http://schemas.openxmlformats.org/officeDocument/2006/relationships/tags" Target="../tags/tag117.xml"/><Relationship Id="rId118" Type="http://schemas.openxmlformats.org/officeDocument/2006/relationships/tags" Target="../tags/tag118.xml"/><Relationship Id="rId119" Type="http://schemas.openxmlformats.org/officeDocument/2006/relationships/tags" Target="../tags/tag119.xml"/><Relationship Id="rId200" Type="http://schemas.openxmlformats.org/officeDocument/2006/relationships/tags" Target="../tags/tag200.xml"/><Relationship Id="rId201" Type="http://schemas.openxmlformats.org/officeDocument/2006/relationships/tags" Target="../tags/tag201.xml"/><Relationship Id="rId202" Type="http://schemas.openxmlformats.org/officeDocument/2006/relationships/tags" Target="../tags/tag202.xml"/><Relationship Id="rId203" Type="http://schemas.openxmlformats.org/officeDocument/2006/relationships/tags" Target="../tags/tag203.xml"/><Relationship Id="rId204" Type="http://schemas.openxmlformats.org/officeDocument/2006/relationships/tags" Target="../tags/tag204.xml"/><Relationship Id="rId205" Type="http://schemas.openxmlformats.org/officeDocument/2006/relationships/tags" Target="../tags/tag205.xml"/><Relationship Id="rId206" Type="http://schemas.openxmlformats.org/officeDocument/2006/relationships/tags" Target="../tags/tag206.xml"/><Relationship Id="rId207" Type="http://schemas.openxmlformats.org/officeDocument/2006/relationships/tags" Target="../tags/tag207.xml"/><Relationship Id="rId208" Type="http://schemas.openxmlformats.org/officeDocument/2006/relationships/tags" Target="../tags/tag208.xml"/><Relationship Id="rId209" Type="http://schemas.openxmlformats.org/officeDocument/2006/relationships/tags" Target="../tags/tag209.xml"/><Relationship Id="rId265" Type="http://schemas.openxmlformats.org/officeDocument/2006/relationships/tags" Target="../tags/tag265.xml"/><Relationship Id="rId266" Type="http://schemas.openxmlformats.org/officeDocument/2006/relationships/tags" Target="../tags/tag266.xml"/><Relationship Id="rId267" Type="http://schemas.openxmlformats.org/officeDocument/2006/relationships/tags" Target="../tags/tag267.xml"/><Relationship Id="rId268" Type="http://schemas.openxmlformats.org/officeDocument/2006/relationships/tags" Target="../tags/tag268.xml"/><Relationship Id="rId269" Type="http://schemas.openxmlformats.org/officeDocument/2006/relationships/tags" Target="../tags/tag269.xml"/><Relationship Id="rId350" Type="http://schemas.openxmlformats.org/officeDocument/2006/relationships/tags" Target="../tags/tag350.xml"/><Relationship Id="rId351" Type="http://schemas.openxmlformats.org/officeDocument/2006/relationships/tags" Target="../tags/tag351.xml"/><Relationship Id="rId352" Type="http://schemas.openxmlformats.org/officeDocument/2006/relationships/tags" Target="../tags/tag352.xml"/><Relationship Id="rId353" Type="http://schemas.openxmlformats.org/officeDocument/2006/relationships/tags" Target="../tags/tag353.xml"/><Relationship Id="rId354" Type="http://schemas.openxmlformats.org/officeDocument/2006/relationships/tags" Target="../tags/tag354.xml"/><Relationship Id="rId355" Type="http://schemas.openxmlformats.org/officeDocument/2006/relationships/tags" Target="../tags/tag355.xml"/><Relationship Id="rId356" Type="http://schemas.openxmlformats.org/officeDocument/2006/relationships/tags" Target="../tags/tag356.xml"/><Relationship Id="rId357" Type="http://schemas.openxmlformats.org/officeDocument/2006/relationships/tags" Target="../tags/tag357.xml"/><Relationship Id="rId358" Type="http://schemas.openxmlformats.org/officeDocument/2006/relationships/tags" Target="../tags/tag358.xml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tags" Target="../tags/tag9.xml"/><Relationship Id="rId359" Type="http://schemas.openxmlformats.org/officeDocument/2006/relationships/tags" Target="../tags/tag359.xml"/><Relationship Id="rId80" Type="http://schemas.openxmlformats.org/officeDocument/2006/relationships/tags" Target="../tags/tag80.xml"/><Relationship Id="rId81" Type="http://schemas.openxmlformats.org/officeDocument/2006/relationships/tags" Target="../tags/tag81.xml"/><Relationship Id="rId82" Type="http://schemas.openxmlformats.org/officeDocument/2006/relationships/tags" Target="../tags/tag82.xml"/><Relationship Id="rId83" Type="http://schemas.openxmlformats.org/officeDocument/2006/relationships/tags" Target="../tags/tag83.xml"/><Relationship Id="rId84" Type="http://schemas.openxmlformats.org/officeDocument/2006/relationships/tags" Target="../tags/tag84.xml"/><Relationship Id="rId85" Type="http://schemas.openxmlformats.org/officeDocument/2006/relationships/tags" Target="../tags/tag85.xml"/><Relationship Id="rId86" Type="http://schemas.openxmlformats.org/officeDocument/2006/relationships/tags" Target="../tags/tag86.xml"/><Relationship Id="rId87" Type="http://schemas.openxmlformats.org/officeDocument/2006/relationships/tags" Target="../tags/tag87.xml"/><Relationship Id="rId88" Type="http://schemas.openxmlformats.org/officeDocument/2006/relationships/tags" Target="../tags/tag88.xml"/><Relationship Id="rId89" Type="http://schemas.openxmlformats.org/officeDocument/2006/relationships/tags" Target="../tags/tag89.xml"/><Relationship Id="rId180" Type="http://schemas.openxmlformats.org/officeDocument/2006/relationships/tags" Target="../tags/tag180.xml"/><Relationship Id="rId181" Type="http://schemas.openxmlformats.org/officeDocument/2006/relationships/tags" Target="../tags/tag181.xml"/><Relationship Id="rId182" Type="http://schemas.openxmlformats.org/officeDocument/2006/relationships/tags" Target="../tags/tag182.xml"/><Relationship Id="rId183" Type="http://schemas.openxmlformats.org/officeDocument/2006/relationships/tags" Target="../tags/tag183.xml"/><Relationship Id="rId184" Type="http://schemas.openxmlformats.org/officeDocument/2006/relationships/tags" Target="../tags/tag184.xml"/><Relationship Id="rId185" Type="http://schemas.openxmlformats.org/officeDocument/2006/relationships/tags" Target="../tags/tag185.xml"/><Relationship Id="rId186" Type="http://schemas.openxmlformats.org/officeDocument/2006/relationships/tags" Target="../tags/tag186.xml"/><Relationship Id="rId187" Type="http://schemas.openxmlformats.org/officeDocument/2006/relationships/tags" Target="../tags/tag187.xml"/><Relationship Id="rId188" Type="http://schemas.openxmlformats.org/officeDocument/2006/relationships/tags" Target="../tags/tag188.xml"/><Relationship Id="rId189" Type="http://schemas.openxmlformats.org/officeDocument/2006/relationships/tags" Target="../tags/tag189.xml"/><Relationship Id="rId270" Type="http://schemas.openxmlformats.org/officeDocument/2006/relationships/tags" Target="../tags/tag270.xml"/><Relationship Id="rId20" Type="http://schemas.openxmlformats.org/officeDocument/2006/relationships/tags" Target="../tags/tag20.xml"/><Relationship Id="rId21" Type="http://schemas.openxmlformats.org/officeDocument/2006/relationships/tags" Target="../tags/tag21.xml"/><Relationship Id="rId22" Type="http://schemas.openxmlformats.org/officeDocument/2006/relationships/tags" Target="../tags/tag22.xml"/><Relationship Id="rId23" Type="http://schemas.openxmlformats.org/officeDocument/2006/relationships/tags" Target="../tags/tag23.xml"/><Relationship Id="rId24" Type="http://schemas.openxmlformats.org/officeDocument/2006/relationships/tags" Target="../tags/tag24.xml"/><Relationship Id="rId25" Type="http://schemas.openxmlformats.org/officeDocument/2006/relationships/tags" Target="../tags/tag25.xml"/><Relationship Id="rId26" Type="http://schemas.openxmlformats.org/officeDocument/2006/relationships/tags" Target="../tags/tag26.xml"/><Relationship Id="rId27" Type="http://schemas.openxmlformats.org/officeDocument/2006/relationships/tags" Target="../tags/tag27.xml"/><Relationship Id="rId28" Type="http://schemas.openxmlformats.org/officeDocument/2006/relationships/tags" Target="../tags/tag28.xml"/><Relationship Id="rId29" Type="http://schemas.openxmlformats.org/officeDocument/2006/relationships/tags" Target="../tags/tag29.xml"/><Relationship Id="rId271" Type="http://schemas.openxmlformats.org/officeDocument/2006/relationships/tags" Target="../tags/tag271.xml"/><Relationship Id="rId272" Type="http://schemas.openxmlformats.org/officeDocument/2006/relationships/tags" Target="../tags/tag272.xml"/><Relationship Id="rId273" Type="http://schemas.openxmlformats.org/officeDocument/2006/relationships/tags" Target="../tags/tag273.xml"/><Relationship Id="rId274" Type="http://schemas.openxmlformats.org/officeDocument/2006/relationships/tags" Target="../tags/tag274.xml"/><Relationship Id="rId120" Type="http://schemas.openxmlformats.org/officeDocument/2006/relationships/tags" Target="../tags/tag120.xml"/><Relationship Id="rId121" Type="http://schemas.openxmlformats.org/officeDocument/2006/relationships/tags" Target="../tags/tag121.xml"/><Relationship Id="rId122" Type="http://schemas.openxmlformats.org/officeDocument/2006/relationships/tags" Target="../tags/tag122.xml"/><Relationship Id="rId123" Type="http://schemas.openxmlformats.org/officeDocument/2006/relationships/tags" Target="../tags/tag123.xml"/><Relationship Id="rId124" Type="http://schemas.openxmlformats.org/officeDocument/2006/relationships/tags" Target="../tags/tag124.xml"/><Relationship Id="rId125" Type="http://schemas.openxmlformats.org/officeDocument/2006/relationships/tags" Target="../tags/tag125.xml"/><Relationship Id="rId126" Type="http://schemas.openxmlformats.org/officeDocument/2006/relationships/tags" Target="../tags/tag126.xml"/><Relationship Id="rId127" Type="http://schemas.openxmlformats.org/officeDocument/2006/relationships/tags" Target="../tags/tag127.xml"/><Relationship Id="rId128" Type="http://schemas.openxmlformats.org/officeDocument/2006/relationships/tags" Target="../tags/tag128.xml"/><Relationship Id="rId129" Type="http://schemas.openxmlformats.org/officeDocument/2006/relationships/tags" Target="../tags/tag129.xml"/><Relationship Id="rId210" Type="http://schemas.openxmlformats.org/officeDocument/2006/relationships/tags" Target="../tags/tag210.xml"/><Relationship Id="rId211" Type="http://schemas.openxmlformats.org/officeDocument/2006/relationships/tags" Target="../tags/tag211.xml"/><Relationship Id="rId212" Type="http://schemas.openxmlformats.org/officeDocument/2006/relationships/tags" Target="../tags/tag212.xml"/><Relationship Id="rId213" Type="http://schemas.openxmlformats.org/officeDocument/2006/relationships/tags" Target="../tags/tag213.xml"/><Relationship Id="rId214" Type="http://schemas.openxmlformats.org/officeDocument/2006/relationships/tags" Target="../tags/tag214.xml"/><Relationship Id="rId215" Type="http://schemas.openxmlformats.org/officeDocument/2006/relationships/tags" Target="../tags/tag215.xml"/><Relationship Id="rId216" Type="http://schemas.openxmlformats.org/officeDocument/2006/relationships/tags" Target="../tags/tag216.xml"/><Relationship Id="rId217" Type="http://schemas.openxmlformats.org/officeDocument/2006/relationships/tags" Target="../tags/tag217.xml"/><Relationship Id="rId218" Type="http://schemas.openxmlformats.org/officeDocument/2006/relationships/tags" Target="../tags/tag218.xml"/><Relationship Id="rId219" Type="http://schemas.openxmlformats.org/officeDocument/2006/relationships/tags" Target="../tags/tag219.xml"/><Relationship Id="rId275" Type="http://schemas.openxmlformats.org/officeDocument/2006/relationships/tags" Target="../tags/tag275.xml"/><Relationship Id="rId276" Type="http://schemas.openxmlformats.org/officeDocument/2006/relationships/tags" Target="../tags/tag276.xml"/><Relationship Id="rId277" Type="http://schemas.openxmlformats.org/officeDocument/2006/relationships/tags" Target="../tags/tag277.xml"/><Relationship Id="rId278" Type="http://schemas.openxmlformats.org/officeDocument/2006/relationships/tags" Target="../tags/tag278.xml"/><Relationship Id="rId279" Type="http://schemas.openxmlformats.org/officeDocument/2006/relationships/tags" Target="../tags/tag279.xml"/><Relationship Id="rId300" Type="http://schemas.openxmlformats.org/officeDocument/2006/relationships/tags" Target="../tags/tag300.xml"/><Relationship Id="rId301" Type="http://schemas.openxmlformats.org/officeDocument/2006/relationships/tags" Target="../tags/tag301.xml"/><Relationship Id="rId302" Type="http://schemas.openxmlformats.org/officeDocument/2006/relationships/tags" Target="../tags/tag302.xml"/><Relationship Id="rId303" Type="http://schemas.openxmlformats.org/officeDocument/2006/relationships/tags" Target="../tags/tag303.xml"/><Relationship Id="rId304" Type="http://schemas.openxmlformats.org/officeDocument/2006/relationships/tags" Target="../tags/tag304.xml"/><Relationship Id="rId305" Type="http://schemas.openxmlformats.org/officeDocument/2006/relationships/tags" Target="../tags/tag305.xml"/><Relationship Id="rId306" Type="http://schemas.openxmlformats.org/officeDocument/2006/relationships/tags" Target="../tags/tag306.xml"/><Relationship Id="rId307" Type="http://schemas.openxmlformats.org/officeDocument/2006/relationships/tags" Target="../tags/tag307.xml"/><Relationship Id="rId308" Type="http://schemas.openxmlformats.org/officeDocument/2006/relationships/tags" Target="../tags/tag308.xml"/><Relationship Id="rId309" Type="http://schemas.openxmlformats.org/officeDocument/2006/relationships/tags" Target="../tags/tag309.xml"/><Relationship Id="rId360" Type="http://schemas.openxmlformats.org/officeDocument/2006/relationships/tags" Target="../tags/tag360.xml"/><Relationship Id="rId361" Type="http://schemas.openxmlformats.org/officeDocument/2006/relationships/tags" Target="../tags/tag361.xml"/><Relationship Id="rId362" Type="http://schemas.openxmlformats.org/officeDocument/2006/relationships/tags" Target="../tags/tag362.xml"/><Relationship Id="rId363" Type="http://schemas.openxmlformats.org/officeDocument/2006/relationships/tags" Target="../tags/tag363.xml"/><Relationship Id="rId364" Type="http://schemas.openxmlformats.org/officeDocument/2006/relationships/tags" Target="../tags/tag364.xml"/><Relationship Id="rId365" Type="http://schemas.openxmlformats.org/officeDocument/2006/relationships/tags" Target="../tags/tag365.xml"/><Relationship Id="rId366" Type="http://schemas.openxmlformats.org/officeDocument/2006/relationships/tags" Target="../tags/tag366.xml"/><Relationship Id="rId367" Type="http://schemas.openxmlformats.org/officeDocument/2006/relationships/tags" Target="../tags/tag367.xml"/><Relationship Id="rId368" Type="http://schemas.openxmlformats.org/officeDocument/2006/relationships/tags" Target="../tags/tag368.xml"/><Relationship Id="rId369" Type="http://schemas.openxmlformats.org/officeDocument/2006/relationships/tags" Target="../tags/tag369.xml"/><Relationship Id="rId90" Type="http://schemas.openxmlformats.org/officeDocument/2006/relationships/tags" Target="../tags/tag90.xml"/><Relationship Id="rId91" Type="http://schemas.openxmlformats.org/officeDocument/2006/relationships/tags" Target="../tags/tag91.xml"/><Relationship Id="rId92" Type="http://schemas.openxmlformats.org/officeDocument/2006/relationships/tags" Target="../tags/tag92.xml"/><Relationship Id="rId93" Type="http://schemas.openxmlformats.org/officeDocument/2006/relationships/tags" Target="../tags/tag93.xml"/><Relationship Id="rId94" Type="http://schemas.openxmlformats.org/officeDocument/2006/relationships/tags" Target="../tags/tag94.xml"/><Relationship Id="rId95" Type="http://schemas.openxmlformats.org/officeDocument/2006/relationships/tags" Target="../tags/tag95.xml"/><Relationship Id="rId96" Type="http://schemas.openxmlformats.org/officeDocument/2006/relationships/tags" Target="../tags/tag96.xml"/><Relationship Id="rId97" Type="http://schemas.openxmlformats.org/officeDocument/2006/relationships/tags" Target="../tags/tag97.xml"/><Relationship Id="rId98" Type="http://schemas.openxmlformats.org/officeDocument/2006/relationships/tags" Target="../tags/tag98.xml"/><Relationship Id="rId99" Type="http://schemas.openxmlformats.org/officeDocument/2006/relationships/tags" Target="../tags/tag99.xml"/><Relationship Id="rId190" Type="http://schemas.openxmlformats.org/officeDocument/2006/relationships/tags" Target="../tags/tag190.xml"/><Relationship Id="rId191" Type="http://schemas.openxmlformats.org/officeDocument/2006/relationships/tags" Target="../tags/tag191.xml"/><Relationship Id="rId192" Type="http://schemas.openxmlformats.org/officeDocument/2006/relationships/tags" Target="../tags/tag192.xml"/><Relationship Id="rId193" Type="http://schemas.openxmlformats.org/officeDocument/2006/relationships/tags" Target="../tags/tag193.xml"/><Relationship Id="rId194" Type="http://schemas.openxmlformats.org/officeDocument/2006/relationships/tags" Target="../tags/tag194.xml"/><Relationship Id="rId195" Type="http://schemas.openxmlformats.org/officeDocument/2006/relationships/tags" Target="../tags/tag195.xml"/><Relationship Id="rId196" Type="http://schemas.openxmlformats.org/officeDocument/2006/relationships/tags" Target="../tags/tag196.xml"/><Relationship Id="rId197" Type="http://schemas.openxmlformats.org/officeDocument/2006/relationships/tags" Target="../tags/tag197.xml"/><Relationship Id="rId198" Type="http://schemas.openxmlformats.org/officeDocument/2006/relationships/tags" Target="../tags/tag198.xml"/><Relationship Id="rId199" Type="http://schemas.openxmlformats.org/officeDocument/2006/relationships/tags" Target="../tags/tag199.xml"/><Relationship Id="rId280" Type="http://schemas.openxmlformats.org/officeDocument/2006/relationships/tags" Target="../tags/tag280.xml"/><Relationship Id="rId30" Type="http://schemas.openxmlformats.org/officeDocument/2006/relationships/tags" Target="../tags/tag30.xml"/><Relationship Id="rId31" Type="http://schemas.openxmlformats.org/officeDocument/2006/relationships/tags" Target="../tags/tag31.xml"/><Relationship Id="rId32" Type="http://schemas.openxmlformats.org/officeDocument/2006/relationships/tags" Target="../tags/tag32.xml"/><Relationship Id="rId33" Type="http://schemas.openxmlformats.org/officeDocument/2006/relationships/tags" Target="../tags/tag33.xml"/><Relationship Id="rId34" Type="http://schemas.openxmlformats.org/officeDocument/2006/relationships/tags" Target="../tags/tag34.xml"/><Relationship Id="rId35" Type="http://schemas.openxmlformats.org/officeDocument/2006/relationships/tags" Target="../tags/tag35.xml"/><Relationship Id="rId36" Type="http://schemas.openxmlformats.org/officeDocument/2006/relationships/tags" Target="../tags/tag36.xml"/><Relationship Id="rId37" Type="http://schemas.openxmlformats.org/officeDocument/2006/relationships/tags" Target="../tags/tag37.xml"/><Relationship Id="rId38" Type="http://schemas.openxmlformats.org/officeDocument/2006/relationships/tags" Target="../tags/tag38.xml"/><Relationship Id="rId39" Type="http://schemas.openxmlformats.org/officeDocument/2006/relationships/tags" Target="../tags/tag39.xml"/><Relationship Id="rId281" Type="http://schemas.openxmlformats.org/officeDocument/2006/relationships/tags" Target="../tags/tag281.xml"/><Relationship Id="rId282" Type="http://schemas.openxmlformats.org/officeDocument/2006/relationships/tags" Target="../tags/tag282.xml"/><Relationship Id="rId283" Type="http://schemas.openxmlformats.org/officeDocument/2006/relationships/tags" Target="../tags/tag283.xml"/><Relationship Id="rId284" Type="http://schemas.openxmlformats.org/officeDocument/2006/relationships/tags" Target="../tags/tag284.xml"/><Relationship Id="rId130" Type="http://schemas.openxmlformats.org/officeDocument/2006/relationships/tags" Target="../tags/tag130.xml"/><Relationship Id="rId131" Type="http://schemas.openxmlformats.org/officeDocument/2006/relationships/tags" Target="../tags/tag131.xml"/><Relationship Id="rId132" Type="http://schemas.openxmlformats.org/officeDocument/2006/relationships/tags" Target="../tags/tag132.xml"/><Relationship Id="rId133" Type="http://schemas.openxmlformats.org/officeDocument/2006/relationships/tags" Target="../tags/tag133.xml"/><Relationship Id="rId220" Type="http://schemas.openxmlformats.org/officeDocument/2006/relationships/tags" Target="../tags/tag220.xml"/><Relationship Id="rId221" Type="http://schemas.openxmlformats.org/officeDocument/2006/relationships/tags" Target="../tags/tag221.xml"/><Relationship Id="rId222" Type="http://schemas.openxmlformats.org/officeDocument/2006/relationships/tags" Target="../tags/tag222.xml"/><Relationship Id="rId223" Type="http://schemas.openxmlformats.org/officeDocument/2006/relationships/tags" Target="../tags/tag223.xml"/><Relationship Id="rId224" Type="http://schemas.openxmlformats.org/officeDocument/2006/relationships/tags" Target="../tags/tag224.xml"/><Relationship Id="rId225" Type="http://schemas.openxmlformats.org/officeDocument/2006/relationships/tags" Target="../tags/tag225.xml"/><Relationship Id="rId226" Type="http://schemas.openxmlformats.org/officeDocument/2006/relationships/tags" Target="../tags/tag226.xml"/><Relationship Id="rId227" Type="http://schemas.openxmlformats.org/officeDocument/2006/relationships/tags" Target="../tags/tag227.xml"/><Relationship Id="rId228" Type="http://schemas.openxmlformats.org/officeDocument/2006/relationships/tags" Target="../tags/tag228.xml"/><Relationship Id="rId229" Type="http://schemas.openxmlformats.org/officeDocument/2006/relationships/tags" Target="../tags/tag229.xml"/><Relationship Id="rId134" Type="http://schemas.openxmlformats.org/officeDocument/2006/relationships/tags" Target="../tags/tag134.xml"/><Relationship Id="rId135" Type="http://schemas.openxmlformats.org/officeDocument/2006/relationships/tags" Target="../tags/tag135.xml"/><Relationship Id="rId136" Type="http://schemas.openxmlformats.org/officeDocument/2006/relationships/tags" Target="../tags/tag136.xml"/><Relationship Id="rId137" Type="http://schemas.openxmlformats.org/officeDocument/2006/relationships/tags" Target="../tags/tag137.xml"/><Relationship Id="rId138" Type="http://schemas.openxmlformats.org/officeDocument/2006/relationships/tags" Target="../tags/tag138.xml"/><Relationship Id="rId139" Type="http://schemas.openxmlformats.org/officeDocument/2006/relationships/tags" Target="../tags/tag139.xml"/><Relationship Id="rId285" Type="http://schemas.openxmlformats.org/officeDocument/2006/relationships/tags" Target="../tags/tag285.xml"/><Relationship Id="rId286" Type="http://schemas.openxmlformats.org/officeDocument/2006/relationships/tags" Target="../tags/tag286.xml"/><Relationship Id="rId287" Type="http://schemas.openxmlformats.org/officeDocument/2006/relationships/tags" Target="../tags/tag287.xml"/><Relationship Id="rId288" Type="http://schemas.openxmlformats.org/officeDocument/2006/relationships/tags" Target="../tags/tag288.xml"/><Relationship Id="rId289" Type="http://schemas.openxmlformats.org/officeDocument/2006/relationships/tags" Target="../tags/tag289.xml"/><Relationship Id="rId310" Type="http://schemas.openxmlformats.org/officeDocument/2006/relationships/tags" Target="../tags/tag310.xml"/><Relationship Id="rId311" Type="http://schemas.openxmlformats.org/officeDocument/2006/relationships/tags" Target="../tags/tag311.xml"/><Relationship Id="rId312" Type="http://schemas.openxmlformats.org/officeDocument/2006/relationships/tags" Target="../tags/tag312.xml"/><Relationship Id="rId313" Type="http://schemas.openxmlformats.org/officeDocument/2006/relationships/tags" Target="../tags/tag313.xml"/><Relationship Id="rId314" Type="http://schemas.openxmlformats.org/officeDocument/2006/relationships/tags" Target="../tags/tag314.xml"/><Relationship Id="rId315" Type="http://schemas.openxmlformats.org/officeDocument/2006/relationships/tags" Target="../tags/tag315.xml"/><Relationship Id="rId316" Type="http://schemas.openxmlformats.org/officeDocument/2006/relationships/tags" Target="../tags/tag316.xml"/><Relationship Id="rId317" Type="http://schemas.openxmlformats.org/officeDocument/2006/relationships/tags" Target="../tags/tag317.xml"/><Relationship Id="rId318" Type="http://schemas.openxmlformats.org/officeDocument/2006/relationships/tags" Target="../tags/tag318.xml"/><Relationship Id="rId319" Type="http://schemas.openxmlformats.org/officeDocument/2006/relationships/tags" Target="../tags/tag319.xml"/><Relationship Id="rId370" Type="http://schemas.openxmlformats.org/officeDocument/2006/relationships/tags" Target="../tags/tag370.xml"/><Relationship Id="rId371" Type="http://schemas.openxmlformats.org/officeDocument/2006/relationships/tags" Target="../tags/tag371.xml"/><Relationship Id="rId372" Type="http://schemas.openxmlformats.org/officeDocument/2006/relationships/tags" Target="../tags/tag372.xml"/><Relationship Id="rId373" Type="http://schemas.openxmlformats.org/officeDocument/2006/relationships/tags" Target="../tags/tag373.xml"/><Relationship Id="rId374" Type="http://schemas.openxmlformats.org/officeDocument/2006/relationships/tags" Target="../tags/tag374.xml"/><Relationship Id="rId375" Type="http://schemas.openxmlformats.org/officeDocument/2006/relationships/tags" Target="../tags/tag375.xml"/><Relationship Id="rId376" Type="http://schemas.openxmlformats.org/officeDocument/2006/relationships/tags" Target="../tags/tag376.xml"/><Relationship Id="rId377" Type="http://schemas.openxmlformats.org/officeDocument/2006/relationships/tags" Target="../tags/tag377.xml"/><Relationship Id="rId378" Type="http://schemas.openxmlformats.org/officeDocument/2006/relationships/tags" Target="../tags/tag378.xml"/><Relationship Id="rId379" Type="http://schemas.openxmlformats.org/officeDocument/2006/relationships/tags" Target="../tags/tag379.xml"/><Relationship Id="rId290" Type="http://schemas.openxmlformats.org/officeDocument/2006/relationships/tags" Target="../tags/tag290.xml"/><Relationship Id="rId291" Type="http://schemas.openxmlformats.org/officeDocument/2006/relationships/tags" Target="../tags/tag291.xml"/><Relationship Id="rId292" Type="http://schemas.openxmlformats.org/officeDocument/2006/relationships/tags" Target="../tags/tag292.xml"/><Relationship Id="rId293" Type="http://schemas.openxmlformats.org/officeDocument/2006/relationships/tags" Target="../tags/tag293.xml"/><Relationship Id="rId294" Type="http://schemas.openxmlformats.org/officeDocument/2006/relationships/tags" Target="../tags/tag294.xml"/><Relationship Id="rId295" Type="http://schemas.openxmlformats.org/officeDocument/2006/relationships/tags" Target="../tags/tag295.xml"/><Relationship Id="rId296" Type="http://schemas.openxmlformats.org/officeDocument/2006/relationships/tags" Target="../tags/tag296.xml"/><Relationship Id="rId40" Type="http://schemas.openxmlformats.org/officeDocument/2006/relationships/tags" Target="../tags/tag40.xml"/><Relationship Id="rId41" Type="http://schemas.openxmlformats.org/officeDocument/2006/relationships/tags" Target="../tags/tag41.xml"/><Relationship Id="rId42" Type="http://schemas.openxmlformats.org/officeDocument/2006/relationships/tags" Target="../tags/tag42.xml"/><Relationship Id="rId43" Type="http://schemas.openxmlformats.org/officeDocument/2006/relationships/tags" Target="../tags/tag43.xml"/><Relationship Id="rId44" Type="http://schemas.openxmlformats.org/officeDocument/2006/relationships/tags" Target="../tags/tag44.xml"/><Relationship Id="rId45" Type="http://schemas.openxmlformats.org/officeDocument/2006/relationships/tags" Target="../tags/tag45.xml"/><Relationship Id="rId46" Type="http://schemas.openxmlformats.org/officeDocument/2006/relationships/tags" Target="../tags/tag46.xml"/><Relationship Id="rId47" Type="http://schemas.openxmlformats.org/officeDocument/2006/relationships/tags" Target="../tags/tag47.xml"/><Relationship Id="rId48" Type="http://schemas.openxmlformats.org/officeDocument/2006/relationships/tags" Target="../tags/tag48.xml"/><Relationship Id="rId49" Type="http://schemas.openxmlformats.org/officeDocument/2006/relationships/tags" Target="../tags/tag49.xml"/><Relationship Id="rId297" Type="http://schemas.openxmlformats.org/officeDocument/2006/relationships/tags" Target="../tags/tag297.xml"/><Relationship Id="rId298" Type="http://schemas.openxmlformats.org/officeDocument/2006/relationships/tags" Target="../tags/tag298.xml"/><Relationship Id="rId299" Type="http://schemas.openxmlformats.org/officeDocument/2006/relationships/tags" Target="../tags/tag299.xml"/><Relationship Id="rId380" Type="http://schemas.openxmlformats.org/officeDocument/2006/relationships/tags" Target="../tags/tag380.xml"/><Relationship Id="rId140" Type="http://schemas.openxmlformats.org/officeDocument/2006/relationships/tags" Target="../tags/tag140.xml"/><Relationship Id="rId141" Type="http://schemas.openxmlformats.org/officeDocument/2006/relationships/tags" Target="../tags/tag141.xml"/><Relationship Id="rId142" Type="http://schemas.openxmlformats.org/officeDocument/2006/relationships/tags" Target="../tags/tag142.xml"/><Relationship Id="rId143" Type="http://schemas.openxmlformats.org/officeDocument/2006/relationships/tags" Target="../tags/tag143.xml"/><Relationship Id="rId144" Type="http://schemas.openxmlformats.org/officeDocument/2006/relationships/tags" Target="../tags/tag144.xml"/><Relationship Id="rId145" Type="http://schemas.openxmlformats.org/officeDocument/2006/relationships/tags" Target="../tags/tag145.xml"/><Relationship Id="rId146" Type="http://schemas.openxmlformats.org/officeDocument/2006/relationships/tags" Target="../tags/tag146.xml"/><Relationship Id="rId147" Type="http://schemas.openxmlformats.org/officeDocument/2006/relationships/tags" Target="../tags/tag147.xml"/><Relationship Id="rId148" Type="http://schemas.openxmlformats.org/officeDocument/2006/relationships/tags" Target="../tags/tag148.xml"/><Relationship Id="rId149" Type="http://schemas.openxmlformats.org/officeDocument/2006/relationships/tags" Target="../tags/tag149.xml"/><Relationship Id="rId230" Type="http://schemas.openxmlformats.org/officeDocument/2006/relationships/tags" Target="../tags/tag230.xml"/><Relationship Id="rId231" Type="http://schemas.openxmlformats.org/officeDocument/2006/relationships/tags" Target="../tags/tag231.xml"/><Relationship Id="rId232" Type="http://schemas.openxmlformats.org/officeDocument/2006/relationships/tags" Target="../tags/tag232.xml"/><Relationship Id="rId233" Type="http://schemas.openxmlformats.org/officeDocument/2006/relationships/tags" Target="../tags/tag233.xml"/><Relationship Id="rId234" Type="http://schemas.openxmlformats.org/officeDocument/2006/relationships/tags" Target="../tags/tag234.xml"/><Relationship Id="rId235" Type="http://schemas.openxmlformats.org/officeDocument/2006/relationships/tags" Target="../tags/tag235.xml"/><Relationship Id="rId236" Type="http://schemas.openxmlformats.org/officeDocument/2006/relationships/tags" Target="../tags/tag236.xml"/><Relationship Id="rId237" Type="http://schemas.openxmlformats.org/officeDocument/2006/relationships/tags" Target="../tags/tag237.xml"/><Relationship Id="rId238" Type="http://schemas.openxmlformats.org/officeDocument/2006/relationships/tags" Target="../tags/tag238.xml"/><Relationship Id="rId239" Type="http://schemas.openxmlformats.org/officeDocument/2006/relationships/tags" Target="../tags/tag239.xml"/><Relationship Id="rId320" Type="http://schemas.openxmlformats.org/officeDocument/2006/relationships/tags" Target="../tags/tag320.xml"/><Relationship Id="rId321" Type="http://schemas.openxmlformats.org/officeDocument/2006/relationships/tags" Target="../tags/tag321.xml"/><Relationship Id="rId322" Type="http://schemas.openxmlformats.org/officeDocument/2006/relationships/tags" Target="../tags/tag322.xml"/><Relationship Id="rId323" Type="http://schemas.openxmlformats.org/officeDocument/2006/relationships/tags" Target="../tags/tag323.xml"/><Relationship Id="rId324" Type="http://schemas.openxmlformats.org/officeDocument/2006/relationships/tags" Target="../tags/tag324.xml"/><Relationship Id="rId325" Type="http://schemas.openxmlformats.org/officeDocument/2006/relationships/tags" Target="../tags/tag325.xml"/><Relationship Id="rId326" Type="http://schemas.openxmlformats.org/officeDocument/2006/relationships/tags" Target="../tags/tag326.xml"/><Relationship Id="rId327" Type="http://schemas.openxmlformats.org/officeDocument/2006/relationships/tags" Target="../tags/tag327.xml"/><Relationship Id="rId328" Type="http://schemas.openxmlformats.org/officeDocument/2006/relationships/tags" Target="../tags/tag328.xml"/><Relationship Id="rId329" Type="http://schemas.openxmlformats.org/officeDocument/2006/relationships/tags" Target="../tags/tag329.xml"/><Relationship Id="rId381" Type="http://schemas.openxmlformats.org/officeDocument/2006/relationships/tags" Target="../tags/tag381.xml"/><Relationship Id="rId382" Type="http://schemas.openxmlformats.org/officeDocument/2006/relationships/slideLayout" Target="../slideLayouts/slideLayout3.xml"/><Relationship Id="rId383" Type="http://schemas.openxmlformats.org/officeDocument/2006/relationships/notesSlide" Target="../notesSlides/notesSlide3.xml"/><Relationship Id="rId50" Type="http://schemas.openxmlformats.org/officeDocument/2006/relationships/tags" Target="../tags/tag50.xml"/><Relationship Id="rId51" Type="http://schemas.openxmlformats.org/officeDocument/2006/relationships/tags" Target="../tags/tag51.xml"/><Relationship Id="rId52" Type="http://schemas.openxmlformats.org/officeDocument/2006/relationships/tags" Target="../tags/tag52.xml"/><Relationship Id="rId53" Type="http://schemas.openxmlformats.org/officeDocument/2006/relationships/tags" Target="../tags/tag53.xml"/><Relationship Id="rId54" Type="http://schemas.openxmlformats.org/officeDocument/2006/relationships/tags" Target="../tags/tag54.xml"/><Relationship Id="rId55" Type="http://schemas.openxmlformats.org/officeDocument/2006/relationships/tags" Target="../tags/tag55.xml"/><Relationship Id="rId56" Type="http://schemas.openxmlformats.org/officeDocument/2006/relationships/tags" Target="../tags/tag56.xml"/><Relationship Id="rId57" Type="http://schemas.openxmlformats.org/officeDocument/2006/relationships/tags" Target="../tags/tag57.xml"/><Relationship Id="rId58" Type="http://schemas.openxmlformats.org/officeDocument/2006/relationships/tags" Target="../tags/tag58.xml"/><Relationship Id="rId59" Type="http://schemas.openxmlformats.org/officeDocument/2006/relationships/tags" Target="../tags/tag59.xml"/><Relationship Id="rId150" Type="http://schemas.openxmlformats.org/officeDocument/2006/relationships/tags" Target="../tags/tag150.xml"/><Relationship Id="rId151" Type="http://schemas.openxmlformats.org/officeDocument/2006/relationships/tags" Target="../tags/tag151.xml"/><Relationship Id="rId152" Type="http://schemas.openxmlformats.org/officeDocument/2006/relationships/tags" Target="../tags/tag152.xml"/><Relationship Id="rId153" Type="http://schemas.openxmlformats.org/officeDocument/2006/relationships/tags" Target="../tags/tag153.xml"/><Relationship Id="rId154" Type="http://schemas.openxmlformats.org/officeDocument/2006/relationships/tags" Target="../tags/tag154.xml"/><Relationship Id="rId155" Type="http://schemas.openxmlformats.org/officeDocument/2006/relationships/tags" Target="../tags/tag155.xml"/><Relationship Id="rId156" Type="http://schemas.openxmlformats.org/officeDocument/2006/relationships/tags" Target="../tags/tag156.xml"/><Relationship Id="rId157" Type="http://schemas.openxmlformats.org/officeDocument/2006/relationships/tags" Target="../tags/tag157.xml"/><Relationship Id="rId158" Type="http://schemas.openxmlformats.org/officeDocument/2006/relationships/tags" Target="../tags/tag158.xml"/><Relationship Id="rId159" Type="http://schemas.openxmlformats.org/officeDocument/2006/relationships/tags" Target="../tags/tag159.xml"/><Relationship Id="rId240" Type="http://schemas.openxmlformats.org/officeDocument/2006/relationships/tags" Target="../tags/tag240.xml"/><Relationship Id="rId241" Type="http://schemas.openxmlformats.org/officeDocument/2006/relationships/tags" Target="../tags/tag241.xml"/><Relationship Id="rId242" Type="http://schemas.openxmlformats.org/officeDocument/2006/relationships/tags" Target="../tags/tag242.xml"/><Relationship Id="rId243" Type="http://schemas.openxmlformats.org/officeDocument/2006/relationships/tags" Target="../tags/tag243.xml"/><Relationship Id="rId244" Type="http://schemas.openxmlformats.org/officeDocument/2006/relationships/tags" Target="../tags/tag244.xml"/><Relationship Id="rId245" Type="http://schemas.openxmlformats.org/officeDocument/2006/relationships/tags" Target="../tags/tag245.xml"/><Relationship Id="rId246" Type="http://schemas.openxmlformats.org/officeDocument/2006/relationships/tags" Target="../tags/tag246.xml"/><Relationship Id="rId247" Type="http://schemas.openxmlformats.org/officeDocument/2006/relationships/tags" Target="../tags/tag247.xml"/><Relationship Id="rId248" Type="http://schemas.openxmlformats.org/officeDocument/2006/relationships/tags" Target="../tags/tag248.xml"/><Relationship Id="rId249" Type="http://schemas.openxmlformats.org/officeDocument/2006/relationships/tags" Target="../tags/tag249.xml"/><Relationship Id="rId330" Type="http://schemas.openxmlformats.org/officeDocument/2006/relationships/tags" Target="../tags/tag330.xml"/><Relationship Id="rId331" Type="http://schemas.openxmlformats.org/officeDocument/2006/relationships/tags" Target="../tags/tag331.xml"/><Relationship Id="rId332" Type="http://schemas.openxmlformats.org/officeDocument/2006/relationships/tags" Target="../tags/tag332.xml"/><Relationship Id="rId333" Type="http://schemas.openxmlformats.org/officeDocument/2006/relationships/tags" Target="../tags/tag333.xml"/><Relationship Id="rId334" Type="http://schemas.openxmlformats.org/officeDocument/2006/relationships/tags" Target="../tags/tag334.xml"/><Relationship Id="rId335" Type="http://schemas.openxmlformats.org/officeDocument/2006/relationships/tags" Target="../tags/tag335.xml"/><Relationship Id="rId336" Type="http://schemas.openxmlformats.org/officeDocument/2006/relationships/tags" Target="../tags/tag336.xml"/><Relationship Id="rId337" Type="http://schemas.openxmlformats.org/officeDocument/2006/relationships/tags" Target="../tags/tag337.xml"/><Relationship Id="rId338" Type="http://schemas.openxmlformats.org/officeDocument/2006/relationships/tags" Target="../tags/tag338.xml"/><Relationship Id="rId339" Type="http://schemas.openxmlformats.org/officeDocument/2006/relationships/tags" Target="../tags/tag339.xml"/><Relationship Id="rId60" Type="http://schemas.openxmlformats.org/officeDocument/2006/relationships/tags" Target="../tags/tag60.xml"/><Relationship Id="rId61" Type="http://schemas.openxmlformats.org/officeDocument/2006/relationships/tags" Target="../tags/tag61.xml"/><Relationship Id="rId62" Type="http://schemas.openxmlformats.org/officeDocument/2006/relationships/tags" Target="../tags/tag62.xml"/><Relationship Id="rId63" Type="http://schemas.openxmlformats.org/officeDocument/2006/relationships/tags" Target="../tags/tag63.xml"/><Relationship Id="rId64" Type="http://schemas.openxmlformats.org/officeDocument/2006/relationships/tags" Target="../tags/tag64.xml"/><Relationship Id="rId65" Type="http://schemas.openxmlformats.org/officeDocument/2006/relationships/tags" Target="../tags/tag65.xml"/><Relationship Id="rId66" Type="http://schemas.openxmlformats.org/officeDocument/2006/relationships/tags" Target="../tags/tag66.xml"/><Relationship Id="rId67" Type="http://schemas.openxmlformats.org/officeDocument/2006/relationships/tags" Target="../tags/tag67.xml"/><Relationship Id="rId68" Type="http://schemas.openxmlformats.org/officeDocument/2006/relationships/tags" Target="../tags/tag68.xml"/><Relationship Id="rId69" Type="http://schemas.openxmlformats.org/officeDocument/2006/relationships/tags" Target="../tags/tag69.xml"/><Relationship Id="rId160" Type="http://schemas.openxmlformats.org/officeDocument/2006/relationships/tags" Target="../tags/tag160.xml"/><Relationship Id="rId161" Type="http://schemas.openxmlformats.org/officeDocument/2006/relationships/tags" Target="../tags/tag161.xml"/><Relationship Id="rId162" Type="http://schemas.openxmlformats.org/officeDocument/2006/relationships/tags" Target="../tags/tag162.xml"/><Relationship Id="rId163" Type="http://schemas.openxmlformats.org/officeDocument/2006/relationships/tags" Target="../tags/tag163.xml"/><Relationship Id="rId164" Type="http://schemas.openxmlformats.org/officeDocument/2006/relationships/tags" Target="../tags/tag164.xml"/><Relationship Id="rId165" Type="http://schemas.openxmlformats.org/officeDocument/2006/relationships/tags" Target="../tags/tag165.xml"/><Relationship Id="rId166" Type="http://schemas.openxmlformats.org/officeDocument/2006/relationships/tags" Target="../tags/tag166.xml"/><Relationship Id="rId167" Type="http://schemas.openxmlformats.org/officeDocument/2006/relationships/tags" Target="../tags/tag167.xml"/><Relationship Id="rId168" Type="http://schemas.openxmlformats.org/officeDocument/2006/relationships/tags" Target="../tags/tag168.xml"/><Relationship Id="rId169" Type="http://schemas.openxmlformats.org/officeDocument/2006/relationships/tags" Target="../tags/tag169.xml"/><Relationship Id="rId250" Type="http://schemas.openxmlformats.org/officeDocument/2006/relationships/tags" Target="../tags/tag250.xml"/><Relationship Id="rId251" Type="http://schemas.openxmlformats.org/officeDocument/2006/relationships/tags" Target="../tags/tag251.xml"/><Relationship Id="rId252" Type="http://schemas.openxmlformats.org/officeDocument/2006/relationships/tags" Target="../tags/tag252.xml"/><Relationship Id="rId253" Type="http://schemas.openxmlformats.org/officeDocument/2006/relationships/tags" Target="../tags/tag253.xml"/><Relationship Id="rId254" Type="http://schemas.openxmlformats.org/officeDocument/2006/relationships/tags" Target="../tags/tag254.xml"/><Relationship Id="rId255" Type="http://schemas.openxmlformats.org/officeDocument/2006/relationships/tags" Target="../tags/tag255.xml"/><Relationship Id="rId256" Type="http://schemas.openxmlformats.org/officeDocument/2006/relationships/tags" Target="../tags/tag256.xml"/><Relationship Id="rId257" Type="http://schemas.openxmlformats.org/officeDocument/2006/relationships/tags" Target="../tags/tag257.xml"/><Relationship Id="rId258" Type="http://schemas.openxmlformats.org/officeDocument/2006/relationships/tags" Target="../tags/tag258.xml"/><Relationship Id="rId259" Type="http://schemas.openxmlformats.org/officeDocument/2006/relationships/tags" Target="../tags/tag259.xml"/><Relationship Id="rId340" Type="http://schemas.openxmlformats.org/officeDocument/2006/relationships/tags" Target="../tags/tag340.xml"/><Relationship Id="rId341" Type="http://schemas.openxmlformats.org/officeDocument/2006/relationships/tags" Target="../tags/tag341.xml"/><Relationship Id="rId342" Type="http://schemas.openxmlformats.org/officeDocument/2006/relationships/tags" Target="../tags/tag342.xml"/><Relationship Id="rId343" Type="http://schemas.openxmlformats.org/officeDocument/2006/relationships/tags" Target="../tags/tag343.xml"/><Relationship Id="rId344" Type="http://schemas.openxmlformats.org/officeDocument/2006/relationships/tags" Target="../tags/tag344.xml"/><Relationship Id="rId100" Type="http://schemas.openxmlformats.org/officeDocument/2006/relationships/tags" Target="../tags/tag100.xml"/><Relationship Id="rId101" Type="http://schemas.openxmlformats.org/officeDocument/2006/relationships/tags" Target="../tags/tag101.xml"/><Relationship Id="rId102" Type="http://schemas.openxmlformats.org/officeDocument/2006/relationships/tags" Target="../tags/tag102.xml"/><Relationship Id="rId103" Type="http://schemas.openxmlformats.org/officeDocument/2006/relationships/tags" Target="../tags/tag103.xml"/><Relationship Id="rId104" Type="http://schemas.openxmlformats.org/officeDocument/2006/relationships/tags" Target="../tags/tag104.xml"/><Relationship Id="rId105" Type="http://schemas.openxmlformats.org/officeDocument/2006/relationships/tags" Target="../tags/tag10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D4F312A8-06AF-6D48-B89D-017846E36E0A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11395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194" name="Picture 7">
            <a:extLst>
              <a:ext uri="{FF2B5EF4-FFF2-40B4-BE49-F238E27FC236}">
                <a16:creationId xmlns="" xmlns:a16="http://schemas.microsoft.com/office/drawing/2014/main" id="{7A17E3FA-3615-4843-848C-3536D43FA0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1563" y="1735138"/>
            <a:ext cx="2098675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5" name="Rectangle 2">
            <a:extLst>
              <a:ext uri="{FF2B5EF4-FFF2-40B4-BE49-F238E27FC236}">
                <a16:creationId xmlns="" xmlns:a16="http://schemas.microsoft.com/office/drawing/2014/main" id="{628CAA51-E256-D448-AB31-61A441BFC9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0862" y="3865563"/>
            <a:ext cx="3812326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en-US" b="1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Robert Wm. Blum MD, PhD, MPH</a:t>
            </a:r>
            <a:endParaRPr lang="en-US" altLang="en-US" b="1" dirty="0">
              <a:solidFill>
                <a:schemeClr val="bg1"/>
              </a:solidFill>
              <a:latin typeface="Avenir Roman" panose="02000503020000020003" pitchFamily="2" charset="0"/>
            </a:endParaRPr>
          </a:p>
          <a:p>
            <a:pPr algn="r" eaLnBrk="1" hangingPunct="1"/>
            <a:r>
              <a:rPr lang="en-US" altLang="en-US" sz="1600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Professor and Director</a:t>
            </a:r>
            <a:endParaRPr lang="en-US" altLang="en-US" sz="1600" dirty="0">
              <a:solidFill>
                <a:schemeClr val="bg1"/>
              </a:solidFill>
              <a:latin typeface="Avenir Roman" panose="02000503020000020003" pitchFamily="2" charset="0"/>
            </a:endParaRPr>
          </a:p>
          <a:p>
            <a:pPr algn="r" eaLnBrk="1" hangingPunct="1"/>
            <a:r>
              <a:rPr lang="en-US" altLang="en-US" sz="1600" dirty="0">
                <a:solidFill>
                  <a:schemeClr val="bg1"/>
                </a:solidFill>
                <a:latin typeface="Avenir Roman" panose="02000503020000020003" pitchFamily="2" charset="0"/>
              </a:rPr>
              <a:t>Global Early Adolescent </a:t>
            </a:r>
            <a:r>
              <a:rPr lang="en-US" altLang="en-US" sz="1600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Study</a:t>
            </a:r>
          </a:p>
          <a:p>
            <a:pPr algn="r" eaLnBrk="1" hangingPunct="1"/>
            <a:r>
              <a:rPr lang="en-US" altLang="en-US" sz="1600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Johns Hopkins University</a:t>
            </a:r>
            <a:endParaRPr lang="en-US" altLang="en-US" sz="1600" dirty="0">
              <a:solidFill>
                <a:schemeClr val="bg1"/>
              </a:solidFill>
              <a:latin typeface="Avenir Roman" panose="02000503020000020003" pitchFamily="2" charset="0"/>
            </a:endParaRPr>
          </a:p>
        </p:txBody>
      </p:sp>
      <p:grpSp>
        <p:nvGrpSpPr>
          <p:cNvPr id="8196" name="Group 16">
            <a:extLst>
              <a:ext uri="{FF2B5EF4-FFF2-40B4-BE49-F238E27FC236}">
                <a16:creationId xmlns="" xmlns:a16="http://schemas.microsoft.com/office/drawing/2014/main" id="{4ABC21C8-6D3C-3643-9C56-AEE7A1403062}"/>
              </a:ext>
            </a:extLst>
          </p:cNvPr>
          <p:cNvGrpSpPr>
            <a:grpSpLocks/>
          </p:cNvGrpSpPr>
          <p:nvPr/>
        </p:nvGrpSpPr>
        <p:grpSpPr bwMode="auto">
          <a:xfrm>
            <a:off x="36195" y="0"/>
            <a:ext cx="5191125" cy="5502275"/>
            <a:chOff x="-750343" y="-92322"/>
            <a:chExt cx="5191125" cy="5502522"/>
          </a:xfrm>
        </p:grpSpPr>
        <p:sp>
          <p:nvSpPr>
            <p:cNvPr id="8199" name="Rectangle 14">
              <a:extLst>
                <a:ext uri="{FF2B5EF4-FFF2-40B4-BE49-F238E27FC236}">
                  <a16:creationId xmlns="" xmlns:a16="http://schemas.microsoft.com/office/drawing/2014/main" id="{3DC679FC-D66B-7A45-944C-B669AA115C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9724" y="90797"/>
              <a:ext cx="4729164" cy="51706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6600" b="1">
                  <a:solidFill>
                    <a:schemeClr val="bg1"/>
                  </a:solidFill>
                  <a:latin typeface="Avenir Roman" panose="02000503020000020003" pitchFamily="2" charset="0"/>
                </a:rPr>
                <a:t>The </a:t>
              </a:r>
            </a:p>
            <a:p>
              <a:pPr eaLnBrk="1" hangingPunct="1"/>
              <a:r>
                <a:rPr lang="en-US" altLang="en-US" sz="6600" b="1">
                  <a:solidFill>
                    <a:schemeClr val="bg1"/>
                  </a:solidFill>
                  <a:latin typeface="Avenir Roman" panose="02000503020000020003" pitchFamily="2" charset="0"/>
                </a:rPr>
                <a:t>Global </a:t>
              </a:r>
            </a:p>
            <a:p>
              <a:pPr eaLnBrk="1" hangingPunct="1"/>
              <a:r>
                <a:rPr lang="en-US" altLang="en-US" sz="6600" b="1">
                  <a:solidFill>
                    <a:schemeClr val="bg1"/>
                  </a:solidFill>
                  <a:latin typeface="Avenir Roman" panose="02000503020000020003" pitchFamily="2" charset="0"/>
                </a:rPr>
                <a:t>Early Adolescent Study</a:t>
              </a:r>
              <a:endParaRPr lang="en-US" altLang="en-US" sz="5400" b="1">
                <a:solidFill>
                  <a:schemeClr val="bg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="" xmlns:a16="http://schemas.microsoft.com/office/drawing/2014/main" id="{EFCBD4AD-2855-D14D-A5CD-02A6852385B6}"/>
                </a:ext>
              </a:extLst>
            </p:cNvPr>
            <p:cNvSpPr/>
            <p:nvPr/>
          </p:nvSpPr>
          <p:spPr>
            <a:xfrm>
              <a:off x="-750343" y="-92322"/>
              <a:ext cx="5191125" cy="5502522"/>
            </a:xfrm>
            <a:prstGeom prst="rect">
              <a:avLst/>
            </a:prstGeom>
            <a:noFill/>
            <a:ln w="76200">
              <a:solidFill>
                <a:srgbClr val="F06C4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197" name="Rectangle 9">
            <a:extLst>
              <a:ext uri="{FF2B5EF4-FFF2-40B4-BE49-F238E27FC236}">
                <a16:creationId xmlns="" xmlns:a16="http://schemas.microsoft.com/office/drawing/2014/main" id="{51A273DD-98D9-0941-97FE-974BCB0468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09257" y="5192713"/>
            <a:ext cx="3493456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US" altLang="en-US" b="1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George Washington University</a:t>
            </a:r>
          </a:p>
          <a:p>
            <a:pPr algn="r" eaLnBrk="1" hangingPunct="1"/>
            <a:r>
              <a:rPr lang="en-US" altLang="en-US" b="1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Mini University</a:t>
            </a:r>
          </a:p>
          <a:p>
            <a:pPr algn="r" eaLnBrk="1" hangingPunct="1"/>
            <a:r>
              <a:rPr lang="en-US" altLang="en-US" b="1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Oct 22, 2018</a:t>
            </a:r>
            <a:endParaRPr lang="en-US" altLang="en-US" dirty="0">
              <a:solidFill>
                <a:schemeClr val="bg1"/>
              </a:solidFill>
              <a:latin typeface="Avenir Roman" panose="02000503020000020003" pitchFamily="2" charset="0"/>
            </a:endParaRPr>
          </a:p>
        </p:txBody>
      </p:sp>
      <p:pic>
        <p:nvPicPr>
          <p:cNvPr id="8198" name="Picture 21">
            <a:extLst>
              <a:ext uri="{FF2B5EF4-FFF2-40B4-BE49-F238E27FC236}">
                <a16:creationId xmlns="" xmlns:a16="http://schemas.microsoft.com/office/drawing/2014/main" id="{8408AF2B-9A8A-024F-AC66-A36BC6895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175" y="241300"/>
            <a:ext cx="1187450" cy="118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7" name="Group 24">
            <a:extLst>
              <a:ext uri="{FF2B5EF4-FFF2-40B4-BE49-F238E27FC236}">
                <a16:creationId xmlns="" xmlns:a16="http://schemas.microsoft.com/office/drawing/2014/main" id="{9330B193-C85B-5040-B97F-0ECBA81D4F4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4338" name="Group 25">
            <a:extLst>
              <a:ext uri="{FF2B5EF4-FFF2-40B4-BE49-F238E27FC236}">
                <a16:creationId xmlns="" xmlns:a16="http://schemas.microsoft.com/office/drawing/2014/main" id="{972FA35B-C9E5-334C-8DD8-73AA35577CEC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D8E0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7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rgbClr val="113A5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4339" name="Group 28">
            <a:extLst>
              <a:ext uri="{FF2B5EF4-FFF2-40B4-BE49-F238E27FC236}">
                <a16:creationId xmlns="" xmlns:a16="http://schemas.microsoft.com/office/drawing/2014/main" id="{1480B5FF-633D-EC4C-BCE3-4524C5E5E748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4340" name="Group 34">
            <a:extLst>
              <a:ext uri="{FF2B5EF4-FFF2-40B4-BE49-F238E27FC236}">
                <a16:creationId xmlns="" xmlns:a16="http://schemas.microsoft.com/office/drawing/2014/main" id="{806764C2-BB61-4443-B17C-669D60BB937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17" name="TextBox 1">
            <a:extLst>
              <a:ext uri="{FF2B5EF4-FFF2-40B4-BE49-F238E27FC236}">
                <a16:creationId xmlns="" xmlns:a16="http://schemas.microsoft.com/office/drawing/2014/main" id="{05B9A927-4B1F-6144-8944-57D92887A2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" y="2895600"/>
            <a:ext cx="3551237" cy="147732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FORMATIVE</a:t>
            </a:r>
            <a:b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</a:br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RESEARCH</a:t>
            </a:r>
            <a:b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</a:br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PRODUCT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508F9BA7-0355-3349-A921-3FBC6E87D242}"/>
              </a:ext>
            </a:extLst>
          </p:cNvPr>
          <p:cNvSpPr txBox="1"/>
          <p:nvPr/>
        </p:nvSpPr>
        <p:spPr>
          <a:xfrm>
            <a:off x="2876549" y="546100"/>
            <a:ext cx="6137277" cy="58400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  <a:hlinkClick r:id="rId3"/>
              </a:rPr>
              <a:t>Systematic review </a:t>
            </a: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exploring factors shaping gender norms among early </a:t>
            </a: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adolescents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  <a:hlinkClick r:id="rId4"/>
              </a:rPr>
              <a:t>Methodological Paper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latin typeface="Avenir Roman" panose="02000503020000020003" pitchFamily="2" charset="0"/>
                <a:hlinkClick r:id="rId4"/>
              </a:rPr>
              <a:t>Gender Norm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latin typeface="Avenir Roman" panose="02000503020000020003" pitchFamily="2" charset="0"/>
                <a:hlinkClick r:id="rId4"/>
              </a:rPr>
              <a:t>Adverse Child Experience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latin typeface="Avenir Roman" panose="02000503020000020003" pitchFamily="2" charset="0"/>
                <a:hlinkClick r:id="rId4"/>
              </a:rPr>
              <a:t>Empowerment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latin typeface="Avenir Roman" panose="02000503020000020003" pitchFamily="2" charset="0"/>
                <a:hlinkClick r:id="rId4"/>
              </a:rPr>
              <a:t>Gender Equality</a:t>
            </a:r>
            <a:endParaRPr lang="en-US" dirty="0" smtClean="0">
              <a:solidFill>
                <a:srgbClr val="113951"/>
              </a:solidFill>
              <a:latin typeface="Avenir Roman" panose="02000503020000020003" pitchFamily="2" charset="0"/>
              <a:hlinkClick r:id="rId4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  <a:hlinkClick r:id="rId4"/>
              </a:rPr>
              <a:t>Journal </a:t>
            </a: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  <a:hlinkClick r:id="rId4"/>
              </a:rPr>
              <a:t>of Adolescent Health Special Supplement</a:t>
            </a:r>
            <a:endParaRPr lang="en-US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6 Publications of Qualitative Finding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1 </a:t>
            </a: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Editorial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3 Commentarie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1 Review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292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7" name="Group 24">
            <a:extLst>
              <a:ext uri="{FF2B5EF4-FFF2-40B4-BE49-F238E27FC236}">
                <a16:creationId xmlns="" xmlns:a16="http://schemas.microsoft.com/office/drawing/2014/main" id="{9330B193-C85B-5040-B97F-0ECBA81D4F4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4338" name="Group 25">
            <a:extLst>
              <a:ext uri="{FF2B5EF4-FFF2-40B4-BE49-F238E27FC236}">
                <a16:creationId xmlns="" xmlns:a16="http://schemas.microsoft.com/office/drawing/2014/main" id="{972FA35B-C9E5-334C-8DD8-73AA35577CEC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7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4339" name="Group 28">
            <a:extLst>
              <a:ext uri="{FF2B5EF4-FFF2-40B4-BE49-F238E27FC236}">
                <a16:creationId xmlns="" xmlns:a16="http://schemas.microsoft.com/office/drawing/2014/main" id="{1480B5FF-633D-EC4C-BCE3-4524C5E5E748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F06B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4340" name="Group 34">
            <a:extLst>
              <a:ext uri="{FF2B5EF4-FFF2-40B4-BE49-F238E27FC236}">
                <a16:creationId xmlns="" xmlns:a16="http://schemas.microsoft.com/office/drawing/2014/main" id="{806764C2-BB61-4443-B17C-669D60BB937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17" name="TextBox 1">
            <a:extLst>
              <a:ext uri="{FF2B5EF4-FFF2-40B4-BE49-F238E27FC236}">
                <a16:creationId xmlns="" xmlns:a16="http://schemas.microsoft.com/office/drawing/2014/main" id="{05B9A927-4B1F-6144-8944-57D92887A2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011" y="861536"/>
            <a:ext cx="3551237" cy="147732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LONGITUDINAL STUDY 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SIT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508F9BA7-0355-3349-A921-3FBC6E87D242}"/>
              </a:ext>
            </a:extLst>
          </p:cNvPr>
          <p:cNvSpPr txBox="1"/>
          <p:nvPr/>
        </p:nvSpPr>
        <p:spPr>
          <a:xfrm>
            <a:off x="2876550" y="1447800"/>
            <a:ext cx="5638800" cy="9002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8D142575-A703-A243-B634-976FE5BDB5E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00" t="3704" r="1317"/>
          <a:stretch/>
        </p:blipFill>
        <p:spPr>
          <a:xfrm>
            <a:off x="793751" y="1752600"/>
            <a:ext cx="7315201" cy="43306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18810946-C54E-9445-A630-81A22663583C}"/>
              </a:ext>
            </a:extLst>
          </p:cNvPr>
          <p:cNvSpPr/>
          <p:nvPr/>
        </p:nvSpPr>
        <p:spPr>
          <a:xfrm>
            <a:off x="1105789" y="5638800"/>
            <a:ext cx="5904611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C8795518-F386-7847-A11E-3B379EB3D9FC}"/>
              </a:ext>
            </a:extLst>
          </p:cNvPr>
          <p:cNvGrpSpPr/>
          <p:nvPr/>
        </p:nvGrpSpPr>
        <p:grpSpPr>
          <a:xfrm>
            <a:off x="1695450" y="5910685"/>
            <a:ext cx="2114550" cy="413915"/>
            <a:chOff x="1001713" y="6324600"/>
            <a:chExt cx="2114550" cy="413915"/>
          </a:xfrm>
        </p:grpSpPr>
        <p:pic>
          <p:nvPicPr>
            <p:cNvPr id="20" name="Picture 19">
              <a:extLst>
                <a:ext uri="{FF2B5EF4-FFF2-40B4-BE49-F238E27FC236}">
                  <a16:creationId xmlns="" xmlns:a16="http://schemas.microsoft.com/office/drawing/2014/main" id="{4C85FFD9-3ED8-A04A-AF9C-22B8774B6A5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401" t="90401" r="88613" b="1694"/>
            <a:stretch/>
          </p:blipFill>
          <p:spPr>
            <a:xfrm>
              <a:off x="1001713" y="6324600"/>
              <a:ext cx="750887" cy="35555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="" xmlns:a16="http://schemas.microsoft.com/office/drawing/2014/main" id="{B248E629-9B56-804B-A250-7109EF58A2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2639" t="90967" r="59227" b="1128"/>
            <a:stretch/>
          </p:blipFill>
          <p:spPr>
            <a:xfrm>
              <a:off x="1752600" y="6382958"/>
              <a:ext cx="1363663" cy="355557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F80195AF-6E8F-514A-8C3D-26644825D69A}"/>
              </a:ext>
            </a:extLst>
          </p:cNvPr>
          <p:cNvGrpSpPr/>
          <p:nvPr/>
        </p:nvGrpSpPr>
        <p:grpSpPr>
          <a:xfrm>
            <a:off x="4560887" y="5894948"/>
            <a:ext cx="1964147" cy="351068"/>
            <a:chOff x="4131853" y="6359417"/>
            <a:chExt cx="1964147" cy="351068"/>
          </a:xfrm>
        </p:grpSpPr>
        <p:pic>
          <p:nvPicPr>
            <p:cNvPr id="23" name="Picture 22">
              <a:extLst>
                <a:ext uri="{FF2B5EF4-FFF2-40B4-BE49-F238E27FC236}">
                  <a16:creationId xmlns="" xmlns:a16="http://schemas.microsoft.com/office/drawing/2014/main" id="{663D3028-E78C-394C-A341-ECCCAF25EF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4553" t="90117" r="50964" b="2077"/>
            <a:stretch/>
          </p:blipFill>
          <p:spPr>
            <a:xfrm>
              <a:off x="4131853" y="6359417"/>
              <a:ext cx="337056" cy="35106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="" xmlns:a16="http://schemas.microsoft.com/office/drawing/2014/main" id="{D784E1BE-6891-5743-8801-78C6DEE648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9753" t="91812" r="18076" b="3280"/>
            <a:stretch/>
          </p:blipFill>
          <p:spPr>
            <a:xfrm>
              <a:off x="4428822" y="6489740"/>
              <a:ext cx="1667178" cy="2207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1452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>
            <a:extLst>
              <a:ext uri="{FF2B5EF4-FFF2-40B4-BE49-F238E27FC236}">
                <a16:creationId xmlns="" xmlns:a16="http://schemas.microsoft.com/office/drawing/2014/main" id="{4458D5ED-74EB-A345-A646-034CEEFB30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" y="2895600"/>
            <a:ext cx="3551237" cy="147732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LONGITUDINAL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RESEARCH 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OBJECTIVES</a:t>
            </a:r>
          </a:p>
        </p:txBody>
      </p:sp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66555226-F905-6B4D-93E7-9A4BE71A961A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D27D6099-02A8-5845-9315-0E5E8B2945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BDBE5998-B15F-5A4A-AAD0-51B01BB556F2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4" name="Group 25">
            <a:extLst>
              <a:ext uri="{FF2B5EF4-FFF2-40B4-BE49-F238E27FC236}">
                <a16:creationId xmlns="" xmlns:a16="http://schemas.microsoft.com/office/drawing/2014/main" id="{23610623-845F-E24A-9CED-A178001FD4E1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8325D4F3-D74F-6C46-A158-EA00E2192DF3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92DE48E0-B0A2-2A4C-BB98-F7B7D3654D54}"/>
                </a:ext>
              </a:extLst>
            </p:cNvPr>
            <p:cNvSpPr txBox="1"/>
            <p:nvPr/>
          </p:nvSpPr>
          <p:spPr>
            <a:xfrm>
              <a:off x="154184" y="2095797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7" name="Group 28">
            <a:extLst>
              <a:ext uri="{FF2B5EF4-FFF2-40B4-BE49-F238E27FC236}">
                <a16:creationId xmlns="" xmlns:a16="http://schemas.microsoft.com/office/drawing/2014/main" id="{39076363-74D0-C64C-9975-0668FBB16CAF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F2E5731F-4DD2-BA48-9F69-E46BE2B45D8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F06B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340703B1-7F5F-5D40-B19B-1A7531CFB00C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20" name="Group 34">
            <a:extLst>
              <a:ext uri="{FF2B5EF4-FFF2-40B4-BE49-F238E27FC236}">
                <a16:creationId xmlns="" xmlns:a16="http://schemas.microsoft.com/office/drawing/2014/main" id="{658DFDD3-8E4B-4A45-9599-43EA5030EDFC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9F8956E4-17C4-B34F-9B60-4F883B7218A1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0C6323F4-DBC1-634C-B8B2-6ABDBC2581BC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23" name="Espace réservé du contenu 2">
            <a:extLst>
              <a:ext uri="{FF2B5EF4-FFF2-40B4-BE49-F238E27FC236}">
                <a16:creationId xmlns="" xmlns:a16="http://schemas.microsoft.com/office/drawing/2014/main" id="{7E9820CC-838A-6E43-AE16-B1017F5D7E9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78483" y="990600"/>
            <a:ext cx="5453065" cy="5943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171450" indent="-171450" algn="l" defTabSz="685800" rtl="0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fontAlgn="base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What are the factors related to gender equitable and inequitable gender norms?</a:t>
            </a:r>
          </a:p>
          <a:p>
            <a:pPr lvl="1" eaLnBrk="1" hangingPunct="1"/>
            <a:r>
              <a:rPr lang="en-US" altLang="en-US" sz="1600" dirty="0">
                <a:solidFill>
                  <a:srgbClr val="113951"/>
                </a:solidFill>
                <a:latin typeface="Avenir Roman" panose="02000503020000020003" pitchFamily="2" charset="0"/>
              </a:rPr>
              <a:t>How do they vary by site? </a:t>
            </a:r>
          </a:p>
          <a:p>
            <a:pPr lvl="1" eaLnBrk="1" hangingPunct="1"/>
            <a:endParaRPr lang="en-US" alt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eaLnBrk="1" hangingPunct="1"/>
            <a:r>
              <a:rPr lang="en-US" alt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How do gender norms &amp; perception of gender equality evolve over time ?</a:t>
            </a:r>
          </a:p>
          <a:p>
            <a:pPr eaLnBrk="1" hangingPunct="1"/>
            <a:endParaRPr lang="en-US" altLang="en-US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eaLnBrk="1" hangingPunct="1"/>
            <a:r>
              <a:rPr lang="en-US" alt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How do gender norms and perceived gender equality at both the individual and community levels related to adolescent health outcomes over time? </a:t>
            </a:r>
          </a:p>
          <a:p>
            <a:pPr lvl="1" eaLnBrk="1" hangingPunct="1"/>
            <a:r>
              <a:rPr lang="en-US" altLang="en-US" sz="1600" dirty="0">
                <a:solidFill>
                  <a:srgbClr val="113951"/>
                </a:solidFill>
                <a:latin typeface="Avenir Roman" panose="02000503020000020003" pitchFamily="2" charset="0"/>
              </a:rPr>
              <a:t>How do these influences vary by setting? </a:t>
            </a:r>
          </a:p>
          <a:p>
            <a:pPr lvl="1" eaLnBrk="1" hangingPunct="1"/>
            <a:endParaRPr lang="en-US" alt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eaLnBrk="1" hangingPunct="1"/>
            <a:r>
              <a:rPr lang="en-US" alt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How do gender transformative interventions shift gender norms and how does this affect health trajectories for boys and girls? </a:t>
            </a:r>
          </a:p>
          <a:p>
            <a:pPr eaLnBrk="1" hangingPunct="1"/>
            <a:endParaRPr lang="en-US" alt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9776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857250"/>
            <a:ext cx="9144000" cy="456057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5811" y="5445435"/>
            <a:ext cx="572378" cy="55531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756" y="5401726"/>
            <a:ext cx="1501378" cy="64273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7227" y="5507586"/>
            <a:ext cx="1289446" cy="41406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71487" y="1448753"/>
            <a:ext cx="8339552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</a:rPr>
              <a:t>Measuring empowerment among adolescents age 10-14 in the Global Early Adolescent Study</a:t>
            </a:r>
            <a:endParaRPr lang="en-US" sz="3600" b="1" dirty="0">
              <a:solidFill>
                <a:schemeClr val="bg1"/>
              </a:solidFill>
              <a:latin typeface="Avenir Book" charset="0"/>
              <a:ea typeface="Avenir Book" charset="0"/>
              <a:cs typeface="Avenir Book" charset="0"/>
            </a:endParaRPr>
          </a:p>
          <a:p>
            <a:pPr algn="ctr"/>
            <a:endParaRPr lang="en-US" sz="3000" b="1" dirty="0">
              <a:solidFill>
                <a:schemeClr val="bg1">
                  <a:lumMod val="75000"/>
                </a:schemeClr>
              </a:solidFill>
              <a:latin typeface="Avenir Book" charset="0"/>
              <a:ea typeface="Avenir Book" charset="0"/>
              <a:cs typeface="Avenir Book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E9D3F8D3-B8C4-D44A-84E4-F727C95D1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0" y="5623560"/>
            <a:ext cx="2057400" cy="273844"/>
          </a:xfrm>
        </p:spPr>
        <p:txBody>
          <a:bodyPr/>
          <a:lstStyle/>
          <a:p>
            <a:fld id="{E632AD41-5FFB-6347-B8FB-BDDB52E11F8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725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1A10C653-0261-1948-9AA4-CC7E76F88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AD41-5FFB-6347-B8FB-BDDB52E11F8C}" type="slidenum">
              <a:rPr lang="en-US" smtClean="0"/>
              <a:t>14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3CA0E8-7EE1-674F-96CA-352961F0343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365125"/>
            <a:ext cx="7886700" cy="1325563"/>
          </a:xfrm>
        </p:spPr>
        <p:txBody>
          <a:bodyPr/>
          <a:lstStyle/>
          <a:p>
            <a:r>
              <a:rPr lang="en-US" dirty="0" smtClean="0"/>
              <a:t>				</a:t>
            </a:r>
            <a:r>
              <a:rPr lang="en-US" b="1" dirty="0" smtClean="0"/>
              <a:t>Empowerment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104CD92-262D-464D-8576-BF73C9E19822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825625"/>
            <a:ext cx="7886700" cy="4351338"/>
          </a:xfrm>
        </p:spPr>
        <p:txBody>
          <a:bodyPr>
            <a:normAutofit/>
          </a:bodyPr>
          <a:lstStyle/>
          <a:p>
            <a:r>
              <a:rPr lang="en-US" sz="2700" dirty="0" smtClean="0"/>
              <a:t>The </a:t>
            </a:r>
            <a:r>
              <a:rPr lang="en-US" sz="2700" dirty="0"/>
              <a:t>concept of enhancing an individual’s or group’s capacity to make effective choices; that is, to make choices and then transform these choices into desired actions and outcomes.</a:t>
            </a:r>
          </a:p>
          <a:p>
            <a:pPr lvl="8"/>
            <a:r>
              <a:rPr lang="en-US" sz="1800" dirty="0">
                <a:solidFill>
                  <a:schemeClr val="bg1"/>
                </a:solidFill>
              </a:rPr>
              <a:t>The World Bank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68364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5949E339-CA52-5746-AE7F-C2D563B220A8}"/>
              </a:ext>
            </a:extLst>
          </p:cNvPr>
          <p:cNvGrpSpPr/>
          <p:nvPr/>
        </p:nvGrpSpPr>
        <p:grpSpPr>
          <a:xfrm>
            <a:off x="363365" y="1638100"/>
            <a:ext cx="7948388" cy="3549110"/>
            <a:chOff x="617838" y="457396"/>
            <a:chExt cx="11257006" cy="5731216"/>
          </a:xfrm>
        </p:grpSpPr>
        <p:sp>
          <p:nvSpPr>
            <p:cNvPr id="14" name="Right Arrow 13">
              <a:extLst>
                <a:ext uri="{FF2B5EF4-FFF2-40B4-BE49-F238E27FC236}">
                  <a16:creationId xmlns:a16="http://schemas.microsoft.com/office/drawing/2014/main" xmlns="" id="{36C67242-DBF6-F944-B44F-96914C6BCD38}"/>
                </a:ext>
              </a:extLst>
            </p:cNvPr>
            <p:cNvSpPr/>
            <p:nvPr/>
          </p:nvSpPr>
          <p:spPr>
            <a:xfrm>
              <a:off x="617838" y="1926394"/>
              <a:ext cx="8971005" cy="2905097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xmlns="" id="{671F3CFF-824D-5647-8D5F-A03E59663EC8}"/>
                </a:ext>
              </a:extLst>
            </p:cNvPr>
            <p:cNvSpPr/>
            <p:nvPr/>
          </p:nvSpPr>
          <p:spPr>
            <a:xfrm>
              <a:off x="4797541" y="457396"/>
              <a:ext cx="3027406" cy="5684108"/>
            </a:xfrm>
            <a:prstGeom prst="roundRect">
              <a:avLst/>
            </a:prstGeom>
            <a:solidFill>
              <a:schemeClr val="accent1">
                <a:alpha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Opportunity Structures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Economic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Political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Cultural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Family 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Legal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Education</a:t>
              </a:r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Social capital</a:t>
              </a:r>
            </a:p>
            <a:p>
              <a:pPr algn="ctr"/>
              <a:endParaRPr lang="en-US" dirty="0"/>
            </a:p>
          </p:txBody>
        </p:sp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xmlns="" id="{72B630C8-4278-9E41-AFF6-4C6D48AB98E3}"/>
                </a:ext>
              </a:extLst>
            </p:cNvPr>
            <p:cNvSpPr/>
            <p:nvPr/>
          </p:nvSpPr>
          <p:spPr>
            <a:xfrm>
              <a:off x="992174" y="457396"/>
              <a:ext cx="3369278" cy="5684108"/>
            </a:xfrm>
            <a:prstGeom prst="roundRect">
              <a:avLst/>
            </a:prstGeom>
            <a:solidFill>
              <a:schemeClr val="accent1">
                <a:alpha val="9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Agency</a:t>
              </a:r>
              <a:endParaRPr lang="en-US" dirty="0"/>
            </a:p>
            <a:p>
              <a:pPr algn="ctr"/>
              <a:endParaRPr lang="en-US" dirty="0"/>
            </a:p>
            <a:p>
              <a:pPr algn="ctr"/>
              <a:r>
                <a:rPr lang="en-US" dirty="0"/>
                <a:t> </a:t>
              </a:r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  <a:p>
              <a:pPr algn="ctr"/>
              <a:endParaRPr lang="en-US" dirty="0"/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xmlns="" id="{B0CCC40F-990A-3941-9DB6-39F669D86BCF}"/>
                </a:ext>
              </a:extLst>
            </p:cNvPr>
            <p:cNvSpPr txBox="1"/>
            <p:nvPr/>
          </p:nvSpPr>
          <p:spPr>
            <a:xfrm>
              <a:off x="1227871" y="944423"/>
              <a:ext cx="2817339" cy="178922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Voice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</a:rPr>
                <a:t>Ability to express opinions and be heard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</a:rPr>
                <a:t>Ability to express needs and desires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0877F0F8-2DB8-2B4E-A6F0-513A6CAFDE56}"/>
                </a:ext>
              </a:extLst>
            </p:cNvPr>
            <p:cNvSpPr txBox="1"/>
            <p:nvPr/>
          </p:nvSpPr>
          <p:spPr>
            <a:xfrm>
              <a:off x="1227871" y="2746456"/>
              <a:ext cx="2817339" cy="2236534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Freedom of Movement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</a:rPr>
                <a:t>Ability to meet with friend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</a:rPr>
                <a:t>Ability to participate in recreational activitie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361FAD8E-A486-C349-883F-11A21E85203E}"/>
                </a:ext>
              </a:extLst>
            </p:cNvPr>
            <p:cNvSpPr txBox="1"/>
            <p:nvPr/>
          </p:nvSpPr>
          <p:spPr>
            <a:xfrm>
              <a:off x="1227871" y="4548487"/>
              <a:ext cx="2817339" cy="164012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schemeClr val="bg1"/>
                  </a:solidFill>
                </a:rPr>
                <a:t>Decision-making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solidFill>
                    <a:schemeClr val="bg1"/>
                  </a:solidFill>
                </a:rPr>
                <a:t>Ability to make decisions that govern daily life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3" name="Rounded Rectangle 12">
              <a:extLst>
                <a:ext uri="{FF2B5EF4-FFF2-40B4-BE49-F238E27FC236}">
                  <a16:creationId xmlns:a16="http://schemas.microsoft.com/office/drawing/2014/main" xmlns="" id="{F721998B-9F4D-8A4F-93D1-0B6095ABA47A}"/>
                </a:ext>
              </a:extLst>
            </p:cNvPr>
            <p:cNvSpPr/>
            <p:nvPr/>
          </p:nvSpPr>
          <p:spPr>
            <a:xfrm>
              <a:off x="9625914" y="1986922"/>
              <a:ext cx="2248930" cy="2622147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/>
                <a:t>Self-actualization</a:t>
              </a:r>
            </a:p>
            <a:p>
              <a:r>
                <a:rPr lang="en-US" dirty="0"/>
                <a:t>Achievement of desired outcome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dirty="0"/>
                <a:t>Education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dirty="0"/>
                <a:t>Employment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dirty="0"/>
                <a:t>Healthy behaviors</a:t>
              </a:r>
            </a:p>
          </p:txBody>
        </p:sp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2BB7B0B9-4E0E-1640-9590-A34F983C3949}"/>
              </a:ext>
            </a:extLst>
          </p:cNvPr>
          <p:cNvSpPr txBox="1">
            <a:spLocks/>
          </p:cNvSpPr>
          <p:nvPr/>
        </p:nvSpPr>
        <p:spPr>
          <a:xfrm>
            <a:off x="628650" y="945524"/>
            <a:ext cx="7886700" cy="99417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bg1"/>
                </a:solidFill>
                <a:latin typeface="Avenir Book" charset="0"/>
                <a:ea typeface="Avenir Book" charset="0"/>
                <a:cs typeface="Avenir Book" charset="0"/>
              </a:defRPr>
            </a:lvl1pPr>
          </a:lstStyle>
          <a:p>
            <a:r>
              <a:rPr lang="en-US" sz="2400" dirty="0"/>
              <a:t>GEAS conceptual model for empowerment among adolescents age 10-14</a:t>
            </a:r>
          </a:p>
        </p:txBody>
      </p:sp>
    </p:spTree>
    <p:extLst>
      <p:ext uri="{BB962C8B-B14F-4D97-AF65-F5344CB8AC3E}">
        <p14:creationId xmlns:p14="http://schemas.microsoft.com/office/powerpoint/2010/main" val="901285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F27825A8-C55B-364F-9525-9339BDEB2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553596"/>
            <a:ext cx="9144000" cy="841388"/>
          </a:xfrm>
          <a:solidFill>
            <a:schemeClr val="tx1">
              <a:lumMod val="75000"/>
              <a:lumOff val="25000"/>
              <a:alpha val="85000"/>
            </a:schemeClr>
          </a:solidFill>
        </p:spPr>
        <p:txBody>
          <a:bodyPr/>
          <a:lstStyle/>
          <a:p>
            <a:r>
              <a:rPr lang="en-US" dirty="0" smtClean="0"/>
              <a:t>Methodology and Results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C40E7469-DD6A-6247-8AE1-8E47D74530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3401" b="26931"/>
          <a:stretch/>
        </p:blipFill>
        <p:spPr>
          <a:xfrm>
            <a:off x="-81366" y="-149493"/>
            <a:ext cx="9225366" cy="4703090"/>
          </a:xfrm>
          <a:prstGeom prst="rect">
            <a:avLst/>
          </a:prstGeom>
        </p:spPr>
      </p:pic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xmlns="" id="{5ECB72B5-676C-BA4D-B571-189BE3A9A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0" y="5624513"/>
            <a:ext cx="2057400" cy="273844"/>
          </a:xfrm>
        </p:spPr>
        <p:txBody>
          <a:bodyPr/>
          <a:lstStyle/>
          <a:p>
            <a:fld id="{E632AD41-5FFB-6347-B8FB-BDDB52E11F8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2488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E72F210E-B693-5C48-9CFF-752542717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ata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80D010EB-9C9C-654C-9088-ECD2D7EECC8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Used data from Phase I of GEAS</a:t>
            </a:r>
          </a:p>
          <a:p>
            <a:pPr lvl="1"/>
            <a:r>
              <a:rPr lang="en-US" dirty="0"/>
              <a:t>Implemented in 14 cities between November 2015 and September 2016</a:t>
            </a:r>
          </a:p>
          <a:p>
            <a:pPr lvl="1"/>
            <a:r>
              <a:rPr lang="en-US" dirty="0"/>
              <a:t>Administered to 120 adolescent age 10-14 in each site </a:t>
            </a:r>
          </a:p>
          <a:p>
            <a:pPr lvl="2"/>
            <a:r>
              <a:rPr lang="en-US" dirty="0"/>
              <a:t>Oversample of </a:t>
            </a:r>
            <a:r>
              <a:rPr lang="en-US" dirty="0" smtClean="0"/>
              <a:t>375 </a:t>
            </a:r>
            <a:r>
              <a:rPr lang="en-US" dirty="0"/>
              <a:t>in Kenya</a:t>
            </a:r>
          </a:p>
          <a:p>
            <a:r>
              <a:rPr lang="en-US" dirty="0"/>
              <a:t>Adolescents were recruited from schools and community centers in urban poor communities</a:t>
            </a:r>
          </a:p>
          <a:p>
            <a:r>
              <a:rPr lang="en-US" dirty="0"/>
              <a:t>Interviews conducted </a:t>
            </a:r>
            <a:r>
              <a:rPr lang="en-US" dirty="0" smtClean="0"/>
              <a:t>primarily by self-administered </a:t>
            </a:r>
            <a:r>
              <a:rPr lang="en-US" dirty="0"/>
              <a:t>on mobile tablets via Computer Assisted Self Interview (CASI) or Audio-CASI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E4E6925-D393-024C-A5F3-5A26BA747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0" y="5624513"/>
            <a:ext cx="2057400" cy="273844"/>
          </a:xfrm>
        </p:spPr>
        <p:txBody>
          <a:bodyPr/>
          <a:lstStyle/>
          <a:p>
            <a:fld id="{E632AD41-5FFB-6347-B8FB-BDDB52E11F8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4047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AF3711-5163-3949-8660-30C8962F93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e Sele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51084F5-6498-0246-8FFA-9E68225F3E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Identified </a:t>
            </a:r>
            <a:r>
              <a:rPr lang="en-US" dirty="0" smtClean="0"/>
              <a:t>four </a:t>
            </a:r>
            <a:r>
              <a:rPr lang="en-US" dirty="0"/>
              <a:t>specific domains hypothesized to be relevant to this age group and across cultures</a:t>
            </a:r>
          </a:p>
          <a:p>
            <a:pPr lvl="1"/>
            <a:r>
              <a:rPr lang="en-US" dirty="0"/>
              <a:t>Voice</a:t>
            </a:r>
          </a:p>
          <a:p>
            <a:pPr lvl="1"/>
            <a:r>
              <a:rPr lang="en-US" dirty="0"/>
              <a:t>Behavioral control and decision making</a:t>
            </a:r>
          </a:p>
          <a:p>
            <a:pPr lvl="1"/>
            <a:r>
              <a:rPr lang="en-US" dirty="0"/>
              <a:t>Freedom of </a:t>
            </a:r>
            <a:r>
              <a:rPr lang="en-US" dirty="0" smtClean="0"/>
              <a:t>movement</a:t>
            </a:r>
          </a:p>
          <a:p>
            <a:pPr lvl="1"/>
            <a:r>
              <a:rPr lang="en-US" dirty="0" smtClean="0"/>
              <a:t>Economic Empowerment</a:t>
            </a:r>
            <a:endParaRPr lang="en-US" dirty="0"/>
          </a:p>
          <a:p>
            <a:r>
              <a:rPr lang="en-US" dirty="0"/>
              <a:t>Identified questions fielded in other surveys and modified to include as items within a sub-sca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6FCA400-8A8A-4F42-BDBE-649527813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29600" y="5624513"/>
            <a:ext cx="2057400" cy="273844"/>
          </a:xfrm>
        </p:spPr>
        <p:txBody>
          <a:bodyPr/>
          <a:lstStyle/>
          <a:p>
            <a:fld id="{E632AD41-5FFB-6347-B8FB-BDDB52E11F8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08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Title 1">
            <a:extLst>
              <a:ext uri="{FF2B5EF4-FFF2-40B4-BE49-F238E27FC236}">
                <a16:creationId xmlns:a16="http://schemas.microsoft.com/office/drawing/2014/main" xmlns="" id="{3E3AFDA3-03CE-0A47-BAA4-98F54EBD3AB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1263652" y="1243014"/>
            <a:ext cx="6646070" cy="994172"/>
          </a:xfrm>
        </p:spPr>
        <p:txBody>
          <a:bodyPr/>
          <a:lstStyle/>
          <a:p>
            <a:pPr algn="ctr"/>
            <a:r>
              <a:rPr lang="en-US" alt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Three Dimensions of Empowerment for Early Adolescen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955BAFC9-FFBB-134E-93E3-F17517BC925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257300" y="2114550"/>
          <a:ext cx="6629400" cy="374690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54235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290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2901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2901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27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Item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Voice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Freedom of Movement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Behavioral Control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Go to after school activities (like sports clubs)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5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Go to a party with boys and girl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7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Meet with friends after school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5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Got to community center/movies/youth center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7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Visit a friend of the opposite sex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7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D8E04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8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88136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My parents or guardians ask for my opinion on thing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6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My parents of guardian listen when I share my opin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My friends ask my advice when they have a problem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9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0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7431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If I see something wrong in school or the neighborhood I feel I can tell someone and they will liste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7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I can speak up in class when I have a comment or question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4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3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I can speak up when I see someone else being hur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I can ask adults for help when I need i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rgbClr val="F06B4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What clothes to wear when you are not in school/working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8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3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What to do in your free tim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What to eat when you are not at home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16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2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How much education you will get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5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4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47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71275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Who you can have as friends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2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0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6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7CFE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673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Cronbach's Alpha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80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75</a:t>
                      </a:r>
                      <a:endParaRPr lang="en-US" sz="900" b="0" i="0" u="none" strike="noStrike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0.71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67389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Total % of Variance Explained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42.97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34.80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u="none" strike="noStrike" dirty="0">
                          <a:effectLst/>
                          <a:latin typeface="Avenir Roman" panose="02000503020000020003" pitchFamily="2" charset="0"/>
                          <a:ea typeface="Arial" charset="0"/>
                          <a:cs typeface="Arial" charset="0"/>
                        </a:rPr>
                        <a:t>29.81%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venir Roman" panose="02000503020000020003" pitchFamily="2" charset="0"/>
                        <a:ea typeface="Arial" charset="0"/>
                        <a:cs typeface="Arial" charset="0"/>
                      </a:endParaRPr>
                    </a:p>
                  </a:txBody>
                  <a:tcPr marL="7345" marR="7345" marT="7346" marB="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</a:tbl>
          </a:graphicData>
        </a:graphic>
      </p:graphicFrame>
      <p:grpSp>
        <p:nvGrpSpPr>
          <p:cNvPr id="4" name="Group 24">
            <a:extLst>
              <a:ext uri="{FF2B5EF4-FFF2-40B4-BE49-F238E27FC236}">
                <a16:creationId xmlns:a16="http://schemas.microsoft.com/office/drawing/2014/main" xmlns="" id="{3BBE2DF5-0B08-4240-89FA-D6F81665C976}"/>
              </a:ext>
            </a:extLst>
          </p:cNvPr>
          <p:cNvGrpSpPr>
            <a:grpSpLocks/>
          </p:cNvGrpSpPr>
          <p:nvPr/>
        </p:nvGrpSpPr>
        <p:grpSpPr bwMode="auto">
          <a:xfrm>
            <a:off x="1085850" y="954883"/>
            <a:ext cx="1804988" cy="270272"/>
            <a:chOff x="154184" y="1981200"/>
            <a:chExt cx="838200" cy="72258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23459896-BE69-FA45-AC8D-3B91C5132B85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xmlns="" id="{786C4130-88C5-ED46-B1F1-1094B93A2274}"/>
                </a:ext>
              </a:extLst>
            </p:cNvPr>
            <p:cNvSpPr txBox="1"/>
            <p:nvPr/>
          </p:nvSpPr>
          <p:spPr>
            <a:xfrm>
              <a:off x="154184" y="2095794"/>
              <a:ext cx="838200" cy="57103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788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8" name="Group 25">
            <a:extLst>
              <a:ext uri="{FF2B5EF4-FFF2-40B4-BE49-F238E27FC236}">
                <a16:creationId xmlns:a16="http://schemas.microsoft.com/office/drawing/2014/main" xmlns="" id="{44F3A425-0BCF-4E44-93A3-6FE518564C4F}"/>
              </a:ext>
            </a:extLst>
          </p:cNvPr>
          <p:cNvGrpSpPr>
            <a:grpSpLocks/>
          </p:cNvGrpSpPr>
          <p:nvPr/>
        </p:nvGrpSpPr>
        <p:grpSpPr bwMode="auto">
          <a:xfrm>
            <a:off x="2801541" y="953691"/>
            <a:ext cx="1804988" cy="270272"/>
            <a:chOff x="154184" y="1981200"/>
            <a:chExt cx="838200" cy="72258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AE375F86-231D-FC43-AC6C-B6BAE750045A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xmlns="" id="{F3A7C763-56FD-564A-9295-3E693405681A}"/>
                </a:ext>
              </a:extLst>
            </p:cNvPr>
            <p:cNvSpPr txBox="1"/>
            <p:nvPr/>
          </p:nvSpPr>
          <p:spPr>
            <a:xfrm>
              <a:off x="154184" y="2095796"/>
              <a:ext cx="838200" cy="57103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788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1" name="Group 28">
            <a:extLst>
              <a:ext uri="{FF2B5EF4-FFF2-40B4-BE49-F238E27FC236}">
                <a16:creationId xmlns:a16="http://schemas.microsoft.com/office/drawing/2014/main" xmlns="" id="{37195CAE-E86A-1A40-8BAF-E55B30E87CB6}"/>
              </a:ext>
            </a:extLst>
          </p:cNvPr>
          <p:cNvGrpSpPr>
            <a:grpSpLocks/>
          </p:cNvGrpSpPr>
          <p:nvPr/>
        </p:nvGrpSpPr>
        <p:grpSpPr bwMode="auto">
          <a:xfrm>
            <a:off x="4512469" y="953691"/>
            <a:ext cx="1804988" cy="270272"/>
            <a:chOff x="154184" y="1981200"/>
            <a:chExt cx="838200" cy="722586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8AC17461-750C-EC46-9A13-1E1BF0E9E610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xmlns="" id="{E53633A9-98CA-0442-9E42-55A0D5DAF73D}"/>
                </a:ext>
              </a:extLst>
            </p:cNvPr>
            <p:cNvSpPr txBox="1"/>
            <p:nvPr/>
          </p:nvSpPr>
          <p:spPr>
            <a:xfrm>
              <a:off x="154184" y="2095794"/>
              <a:ext cx="838200" cy="57103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788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4" name="Group 34">
            <a:extLst>
              <a:ext uri="{FF2B5EF4-FFF2-40B4-BE49-F238E27FC236}">
                <a16:creationId xmlns:a16="http://schemas.microsoft.com/office/drawing/2014/main" xmlns="" id="{BD96B950-6F1A-F348-8CA1-FB05F18A2178}"/>
              </a:ext>
            </a:extLst>
          </p:cNvPr>
          <p:cNvGrpSpPr>
            <a:grpSpLocks/>
          </p:cNvGrpSpPr>
          <p:nvPr/>
        </p:nvGrpSpPr>
        <p:grpSpPr bwMode="auto">
          <a:xfrm>
            <a:off x="6223397" y="953691"/>
            <a:ext cx="1804988" cy="270272"/>
            <a:chOff x="154184" y="1981200"/>
            <a:chExt cx="838200" cy="7225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6478C062-EEE2-EB48-BD2F-1D1610D14386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5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743F325D-BC64-BC48-A377-EF17D3324709}"/>
                </a:ext>
              </a:extLst>
            </p:cNvPr>
            <p:cNvSpPr txBox="1"/>
            <p:nvPr/>
          </p:nvSpPr>
          <p:spPr>
            <a:xfrm>
              <a:off x="154184" y="2095794"/>
              <a:ext cx="838200" cy="57103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en-US" sz="788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266084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89" name="Group 24">
            <a:extLst>
              <a:ext uri="{FF2B5EF4-FFF2-40B4-BE49-F238E27FC236}">
                <a16:creationId xmlns="" xmlns:a16="http://schemas.microsoft.com/office/drawing/2014/main" id="{96E2EDC2-0799-E44C-8EC1-B635F9B1248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2290" name="Group 25">
            <a:extLst>
              <a:ext uri="{FF2B5EF4-FFF2-40B4-BE49-F238E27FC236}">
                <a16:creationId xmlns="" xmlns:a16="http://schemas.microsoft.com/office/drawing/2014/main" id="{184EFAB7-17D9-8F4C-936E-9BB478C323A6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2291" name="Group 28">
            <a:extLst>
              <a:ext uri="{FF2B5EF4-FFF2-40B4-BE49-F238E27FC236}">
                <a16:creationId xmlns="" xmlns:a16="http://schemas.microsoft.com/office/drawing/2014/main" id="{49FE7A68-A31D-AB47-B11C-832617541DDB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2292" name="Group 34">
            <a:extLst>
              <a:ext uri="{FF2B5EF4-FFF2-40B4-BE49-F238E27FC236}">
                <a16:creationId xmlns="" xmlns:a16="http://schemas.microsoft.com/office/drawing/2014/main" id="{1517AB74-B196-884C-A341-9CAE8C387CF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pic>
        <p:nvPicPr>
          <p:cNvPr id="12293" name="Picture 14">
            <a:extLst>
              <a:ext uri="{FF2B5EF4-FFF2-40B4-BE49-F238E27FC236}">
                <a16:creationId xmlns="" xmlns:a16="http://schemas.microsoft.com/office/drawing/2014/main" id="{F47D4881-3D87-6440-8C1C-47C60EE94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09" b="40450"/>
          <a:stretch>
            <a:fillRect/>
          </a:stretch>
        </p:blipFill>
        <p:spPr bwMode="auto">
          <a:xfrm>
            <a:off x="0" y="1447800"/>
            <a:ext cx="2073275" cy="176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4" name="TextBox 1">
            <a:extLst>
              <a:ext uri="{FF2B5EF4-FFF2-40B4-BE49-F238E27FC236}">
                <a16:creationId xmlns="" xmlns:a16="http://schemas.microsoft.com/office/drawing/2014/main" id="{B8EC2381-DDDF-1048-88B0-1E444E8DC0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363" y="3190875"/>
            <a:ext cx="3551237" cy="147732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WHY 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EARLY </a:t>
            </a:r>
            <a:r>
              <a:rPr lang="en-US" altLang="en-US" sz="3000" b="1" dirty="0" smtClean="0">
                <a:solidFill>
                  <a:srgbClr val="F06C45"/>
                </a:solidFill>
                <a:latin typeface="Bookman Old Style" panose="02050604050505020204" pitchFamily="18" charset="0"/>
              </a:rPr>
              <a:t>ADOLESCENCE?</a:t>
            </a:r>
            <a:endParaRPr lang="en-US" altLang="en-US" sz="3000" b="1" dirty="0">
              <a:solidFill>
                <a:srgbClr val="F06C45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296D8CD-1EAE-4940-9776-AA726306FCDB}"/>
              </a:ext>
            </a:extLst>
          </p:cNvPr>
          <p:cNvSpPr txBox="1"/>
          <p:nvPr/>
        </p:nvSpPr>
        <p:spPr>
          <a:xfrm>
            <a:off x="3810000" y="546100"/>
            <a:ext cx="5203827" cy="4732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The age of puberty is declining globally.</a:t>
            </a:r>
          </a:p>
          <a:p>
            <a:pPr marL="342900" lvl="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Over the past 20 years our understanding of adolescent development has expanded dramatically with a particular focus on the plasticity of the adolescent brain.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 smtClean="0"/>
              <a:t>With puberty a girl’s world shrink while a boy’s world expands.</a:t>
            </a:r>
            <a:endParaRPr lang="en-US" sz="2400" dirty="0"/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2666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5F572E2-0B3C-1B49-86EA-3FF354C46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asures – </a:t>
            </a:r>
            <a:r>
              <a:rPr lang="en-US" dirty="0" smtClean="0"/>
              <a:t>Economic Empowerment</a:t>
            </a:r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xmlns="" id="{A125BF3A-1BDF-5546-8931-19B5117270B5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-521804" y="1862813"/>
          <a:ext cx="9839737" cy="723507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31234">
                  <a:extLst>
                    <a:ext uri="{9D8B030D-6E8A-4147-A177-3AD203B41FA5}">
                      <a16:colId xmlns:a16="http://schemas.microsoft.com/office/drawing/2014/main" xmlns="" val="3011163406"/>
                    </a:ext>
                  </a:extLst>
                </a:gridCol>
                <a:gridCol w="5113682">
                  <a:extLst>
                    <a:ext uri="{9D8B030D-6E8A-4147-A177-3AD203B41FA5}">
                      <a16:colId xmlns:a16="http://schemas.microsoft.com/office/drawing/2014/main" xmlns="" val="3336120936"/>
                    </a:ext>
                  </a:extLst>
                </a:gridCol>
                <a:gridCol w="3294821">
                  <a:extLst>
                    <a:ext uri="{9D8B030D-6E8A-4147-A177-3AD203B41FA5}">
                      <a16:colId xmlns:a16="http://schemas.microsoft.com/office/drawing/2014/main" xmlns="" val="886079152"/>
                    </a:ext>
                  </a:extLst>
                </a:gridCol>
              </a:tblGrid>
              <a:tr h="92154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500" u="none" strike="noStrike" dirty="0" smtClean="0">
                          <a:effectLst/>
                        </a:rPr>
                        <a:t>In the last 6 months did</a:t>
                      </a:r>
                      <a:r>
                        <a:rPr lang="en-US" sz="1500" u="none" strike="noStrike" baseline="0" dirty="0" smtClean="0">
                          <a:effectLst/>
                        </a:rPr>
                        <a:t> you do anything to get money?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</a:rPr>
                        <a:t>Items</a:t>
                      </a:r>
                      <a:endParaRPr 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>
                          <a:solidFill>
                            <a:schemeClr val="tx1"/>
                          </a:solidFill>
                          <a:effectLst/>
                        </a:rPr>
                        <a:t>Response Options</a:t>
                      </a:r>
                      <a:endParaRPr lang="en-US" sz="15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xmlns="" val="3099195644"/>
                  </a:ext>
                </a:extLst>
              </a:tr>
              <a:tr h="2064544">
                <a:tc rowSpan="4">
                  <a:txBody>
                    <a:bodyPr/>
                    <a:lstStyle/>
                    <a:p>
                      <a:pPr algn="l" fontAlgn="ctr"/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did you do in the last 6 months to earn money (check as many as apply)?</a:t>
                      </a:r>
                      <a:r>
                        <a:rPr lang="en-US" sz="1800" dirty="0" smtClean="0">
                          <a:effectLst/>
                        </a:rPr>
                        <a:t>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Day labor or temporary work</a:t>
                      </a:r>
                      <a:endParaRPr lang="en-US" sz="1400" dirty="0" smtClean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Worked for family (such as parents or relatives)</a:t>
                      </a:r>
                      <a:endParaRPr lang="en-US" sz="1400" dirty="0" smtClean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Worked for neighbors or friends</a:t>
                      </a:r>
                      <a:endParaRPr lang="en-US" sz="1400" dirty="0" smtClean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Doing odd jobs</a:t>
                      </a:r>
                      <a:endParaRPr lang="en-US" sz="1400" dirty="0" smtClean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Providing services (such as babysitting, hair styling, nail art, selling things like water or cigarettes, washing cars, </a:t>
                      </a:r>
                      <a:endParaRPr lang="en-US" sz="1400" dirty="0" smtClean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Begging, panhandling or garbage-picking</a:t>
                      </a:r>
                      <a:endParaRPr lang="en-US" sz="1400" dirty="0" smtClean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r>
                        <a:rPr lang="en-US" sz="1400" dirty="0" smtClean="0">
                          <a:solidFill>
                            <a:srgbClr val="000000"/>
                          </a:solidFill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Part or full-time job</a:t>
                      </a:r>
                      <a:endParaRPr lang="en-US" sz="1400" dirty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xmlns="" val="1067500757"/>
                  </a:ext>
                </a:extLst>
              </a:tr>
              <a:tr h="51790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the past 6 months have you received gifts of money (including from a boyfriend or girlfriend)</a:t>
                      </a:r>
                      <a:r>
                        <a:rPr lang="en-US" sz="1800" dirty="0" smtClean="0">
                          <a:effectLst/>
                        </a:rPr>
                        <a:t>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lphaLcPeriod"/>
                        <a:tabLst/>
                        <a:defRPr/>
                      </a:pPr>
                      <a:r>
                        <a:rPr lang="en-US" sz="1400" dirty="0" smtClean="0"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No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lphaLcPeriod"/>
                        <a:tabLst/>
                        <a:defRPr/>
                      </a:pPr>
                      <a:r>
                        <a:rPr lang="en-US" sz="1400" dirty="0" smtClean="0">
                          <a:effectLst/>
                          <a:latin typeface="Calibri" charset="0"/>
                          <a:ea typeface="Times New Roman" charset="0"/>
                          <a:cs typeface="Times New Roman" charset="0"/>
                        </a:rPr>
                        <a:t>Yes</a:t>
                      </a:r>
                      <a:endParaRPr lang="en-US" sz="1400" dirty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xmlns="" val="3360438604"/>
                  </a:ext>
                </a:extLst>
              </a:tr>
              <a:tr h="11011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f you did get money over the past 6 months where did you get the money from (check all that apply):</a:t>
                      </a:r>
                      <a:r>
                        <a:rPr lang="en-US" sz="1800" dirty="0" smtClean="0">
                          <a:effectLst/>
                        </a:rPr>
                        <a:t>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 Mother/father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. Boyfriend/Girlfriend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. Other friend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. Other family member</a:t>
                      </a:r>
                    </a:p>
                    <a:p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. Other </a:t>
                      </a:r>
                      <a:endParaRPr lang="en-US" sz="900" dirty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</a:txBody>
                  <a:tcPr marL="7144" marR="7144" marT="7144" marB="0" anchor="b"/>
                </a:tc>
                <a:extLst>
                  <a:ext uri="{0D108BD9-81ED-4DB2-BD59-A6C34878D82A}">
                    <a16:rowId xmlns:a16="http://schemas.microsoft.com/office/drawing/2014/main" xmlns="" val="1418855092"/>
                  </a:ext>
                </a:extLst>
              </a:tr>
              <a:tr h="23404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o decided how the money you earned/received over the past 6 months was spent? Check all that apply 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. Me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. Mother 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. Father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. Boyfriend/ Girlfriend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. Other friend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. Other family member</a:t>
                      </a:r>
                    </a:p>
                    <a:p>
                      <a:pPr lvl="0"/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. There was never a discussion; it was expected that I give it to my family</a:t>
                      </a:r>
                    </a:p>
                    <a:p>
                      <a:pPr lvl="0"/>
                      <a:r>
                        <a:rPr lang="en-US" sz="1400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.Other</a:t>
                      </a:r>
                      <a:endParaRPr lang="en-US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342900" marR="0" lvl="0" indent="-34290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+mj-lt"/>
                        <a:buAutoNum type="alphaLcPeriod"/>
                      </a:pPr>
                      <a:endParaRPr lang="en-US" sz="900" dirty="0">
                        <a:effectLst/>
                        <a:latin typeface="Calibri" charset="0"/>
                        <a:ea typeface="Times New Roman" charset="0"/>
                        <a:cs typeface="Times New Roman" charset="0"/>
                      </a:endParaRPr>
                    </a:p>
                  </a:txBody>
                  <a:tcPr marL="7144" marR="7144" marT="7144" marB="0"/>
                </a:tc>
                <a:extLst>
                  <a:ext uri="{0D108BD9-81ED-4DB2-BD59-A6C34878D82A}">
                    <a16:rowId xmlns:a16="http://schemas.microsoft.com/office/drawing/2014/main" xmlns="" val="41412239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181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conomic Empower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Items did not scale</a:t>
            </a:r>
          </a:p>
          <a:p>
            <a:r>
              <a:rPr lang="en-US" dirty="0" smtClean="0"/>
              <a:t>May work as discrete items</a:t>
            </a:r>
          </a:p>
          <a:p>
            <a:r>
              <a:rPr lang="en-US" dirty="0" smtClean="0"/>
              <a:t>Dropped from the Empowerment measure not because it is irrelevant but because it did not form part of </a:t>
            </a:r>
            <a:r>
              <a:rPr lang="en-US" smtClean="0"/>
              <a:t>a coherent </a:t>
            </a:r>
            <a:r>
              <a:rPr lang="en-US" dirty="0" smtClean="0"/>
              <a:t>measure of empower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AD41-5FFB-6347-B8FB-BDDB52E11F8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5662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279FAE79-0726-A940-8CE6-4EB20460465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5015"/>
          <a:stretch/>
        </p:blipFill>
        <p:spPr>
          <a:xfrm>
            <a:off x="-18888" y="832312"/>
            <a:ext cx="9162888" cy="458148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xmlns="" id="{AC954684-8F27-694A-B8AC-CEE580A231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4622915"/>
            <a:ext cx="9144000" cy="790878"/>
          </a:xfrm>
          <a:solidFill>
            <a:schemeClr val="tx1">
              <a:lumMod val="75000"/>
              <a:lumOff val="25000"/>
              <a:alpha val="85000"/>
            </a:schemeClr>
          </a:solidFill>
        </p:spPr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AA2B8C5-465E-1B4C-AEB1-8D81B41F5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AD41-5FFB-6347-B8FB-BDDB52E11F8C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732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xmlns="" id="{F55071FB-EFFA-7B47-82FE-DB6D771AA5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5EBE9B1-DF60-2C44-86F1-470C19674C2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Evidence that overall the three dimensions of voice, freedom of movement and behavioral control are dimensions within a larger construct</a:t>
            </a:r>
          </a:p>
          <a:p>
            <a:r>
              <a:rPr lang="en-US" dirty="0"/>
              <a:t>Voice appears to be a more universal construct than freedom of movement or behavioral control</a:t>
            </a:r>
          </a:p>
          <a:p>
            <a:r>
              <a:rPr lang="en-US" dirty="0" smtClean="0"/>
              <a:t>Specific </a:t>
            </a:r>
            <a:r>
              <a:rPr lang="en-US" dirty="0"/>
              <a:t>items demonstrate that context matters and scales need to be adapted to reflect </a:t>
            </a:r>
            <a:r>
              <a:rPr lang="en-US" dirty="0" smtClean="0"/>
              <a:t>this</a:t>
            </a:r>
          </a:p>
          <a:p>
            <a:r>
              <a:rPr lang="en-US" dirty="0" smtClean="0"/>
              <a:t>The three dimensions are more measures of agency than empowerment</a:t>
            </a:r>
          </a:p>
          <a:p>
            <a:r>
              <a:rPr lang="en-US" dirty="0" smtClean="0"/>
              <a:t>Economic empowerment, while important, does not scale.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6906A32-1992-F045-A1C0-FE20514A4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32AD41-5FFB-6347-B8FB-BDDB52E11F8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51119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7" name="Title 1">
            <a:extLst>
              <a:ext uri="{FF2B5EF4-FFF2-40B4-BE49-F238E27FC236}">
                <a16:creationId xmlns="" xmlns:a16="http://schemas.microsoft.com/office/drawing/2014/main" id="{5F1AF35C-880F-4D4C-B34A-06E77BE4BD5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-33022" y="33528"/>
            <a:ext cx="9152467" cy="812800"/>
          </a:xfrm>
        </p:spPr>
        <p:txBody>
          <a:bodyPr/>
          <a:lstStyle/>
          <a:p>
            <a:pPr algn="ctr"/>
            <a:r>
              <a:rPr lang="en-US" alt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The GEAS Partners:</a:t>
            </a:r>
            <a:endParaRPr lang="en-US" altLang="en-US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="" xmlns:a16="http://schemas.microsoft.com/office/drawing/2014/main" id="{5DB22FE4-A7B6-0343-BBD6-243F6C35C463}"/>
              </a:ext>
            </a:extLst>
          </p:cNvPr>
          <p:cNvSpPr/>
          <p:nvPr/>
        </p:nvSpPr>
        <p:spPr>
          <a:xfrm>
            <a:off x="121201" y="4454406"/>
            <a:ext cx="2708814" cy="2286000"/>
          </a:xfrm>
          <a:prstGeom prst="roundRect">
            <a:avLst/>
          </a:prstGeom>
          <a:solidFill>
            <a:srgbClr val="1139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algn="ctr"/>
            <a:endParaRPr 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algn="ctr"/>
            <a:endParaRPr 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0282F1D-591E-314F-ADC1-899B6B7E0EE9}"/>
              </a:ext>
            </a:extLst>
          </p:cNvPr>
          <p:cNvSpPr/>
          <p:nvPr/>
        </p:nvSpPr>
        <p:spPr>
          <a:xfrm>
            <a:off x="170935" y="4524280"/>
            <a:ext cx="26093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Avenir Roman" panose="02000503020000020003" pitchFamily="2" charset="0"/>
              </a:rPr>
              <a:t>Johns Hopkins GEAS  Coordinating Cent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29B3B0A-F07C-8F4D-96D4-71BD3284BC1A}"/>
              </a:ext>
            </a:extLst>
          </p:cNvPr>
          <p:cNvSpPr/>
          <p:nvPr/>
        </p:nvSpPr>
        <p:spPr>
          <a:xfrm>
            <a:off x="203066" y="5061688"/>
            <a:ext cx="254508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Robert Blum, MD, MPH, Ph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Caroline Moreau, MD, </a:t>
            </a:r>
            <a:r>
              <a:rPr lang="en-US" sz="1100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Ph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chemeClr val="bg1"/>
                </a:solidFill>
                <a:latin typeface="Avenir Roman" panose="02000503020000020003" pitchFamily="2" charset="0"/>
              </a:rPr>
              <a:t>Leah Koenig MSPH</a:t>
            </a:r>
            <a:endParaRPr lang="en-US" sz="1100" dirty="0">
              <a:solidFill>
                <a:schemeClr val="bg1"/>
              </a:solidFill>
              <a:latin typeface="Avenir Roman" panose="02000503020000020003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Kristin Mmari, </a:t>
            </a:r>
            <a:r>
              <a:rPr lang="en-US" sz="1100" dirty="0" err="1" smtClean="0">
                <a:solidFill>
                  <a:schemeClr val="bg1"/>
                </a:solidFill>
                <a:latin typeface="Avenir Roman" panose="02000503020000020003" pitchFamily="2" charset="0"/>
              </a:rPr>
              <a:t>Dr.PH</a:t>
            </a:r>
            <a:endParaRPr lang="en-US" sz="1100" dirty="0">
              <a:solidFill>
                <a:schemeClr val="bg1"/>
              </a:solidFill>
              <a:latin typeface="Avenir Roman" panose="02000503020000020003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Linnea Zimmerman, Ph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Lori </a:t>
            </a:r>
            <a:r>
              <a:rPr lang="en-US" sz="1100" dirty="0" err="1">
                <a:solidFill>
                  <a:schemeClr val="bg1"/>
                </a:solidFill>
                <a:latin typeface="Avenir Roman" panose="02000503020000020003" pitchFamily="2" charset="0"/>
              </a:rPr>
              <a:t>Heise</a:t>
            </a: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, Ph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 err="1">
                <a:solidFill>
                  <a:schemeClr val="bg1"/>
                </a:solidFill>
                <a:latin typeface="Avenir Roman" panose="02000503020000020003" pitchFamily="2" charset="0"/>
              </a:rPr>
              <a:t>Mengmeng</a:t>
            </a: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 Li, MSP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Mark Emers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Quinn Barnet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chemeClr val="bg1"/>
                </a:solidFill>
                <a:latin typeface="Avenir Roman" panose="02000503020000020003" pitchFamily="2" charset="0"/>
              </a:rPr>
              <a:t>Linda </a:t>
            </a:r>
            <a:r>
              <a:rPr lang="en-US" sz="1100" dirty="0" err="1">
                <a:solidFill>
                  <a:schemeClr val="bg1"/>
                </a:solidFill>
                <a:latin typeface="Avenir Roman" panose="02000503020000020003" pitchFamily="2" charset="0"/>
              </a:rPr>
              <a:t>Boche</a:t>
            </a:r>
            <a:endParaRPr lang="en-US" sz="1100" dirty="0">
              <a:solidFill>
                <a:schemeClr val="bg1"/>
              </a:solidFill>
              <a:latin typeface="Avenir Roman" panose="02000503020000020003" pitchFamily="2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="" xmlns:a16="http://schemas.microsoft.com/office/drawing/2014/main" id="{4D1E7B7E-881C-AC42-BC15-AF55F5AB053E}"/>
              </a:ext>
            </a:extLst>
          </p:cNvPr>
          <p:cNvSpPr/>
          <p:nvPr/>
        </p:nvSpPr>
        <p:spPr>
          <a:xfrm>
            <a:off x="6339633" y="4454406"/>
            <a:ext cx="2708814" cy="2286000"/>
          </a:xfrm>
          <a:prstGeom prst="roundRect">
            <a:avLst/>
          </a:prstGeom>
          <a:solidFill>
            <a:srgbClr val="F06B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algn="ctr"/>
            <a:endParaRPr 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algn="ctr"/>
            <a:endParaRPr lang="en-US" sz="16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72565EAC-3B39-CF4D-8821-659CADE64132}"/>
              </a:ext>
            </a:extLst>
          </p:cNvPr>
          <p:cNvSpPr/>
          <p:nvPr/>
        </p:nvSpPr>
        <p:spPr>
          <a:xfrm>
            <a:off x="6339634" y="5005537"/>
            <a:ext cx="2708814" cy="63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E83CD801-DD89-9E48-92CF-99101EBCB50D}"/>
              </a:ext>
            </a:extLst>
          </p:cNvPr>
          <p:cNvSpPr/>
          <p:nvPr/>
        </p:nvSpPr>
        <p:spPr>
          <a:xfrm>
            <a:off x="6284598" y="4554760"/>
            <a:ext cx="28690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>
                <a:solidFill>
                  <a:srgbClr val="113951"/>
                </a:solidFill>
                <a:latin typeface="Avenir Roman" panose="02000503020000020003" pitchFamily="2" charset="0"/>
              </a:rPr>
              <a:t>GEAS Dono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68B344D6-7B08-7F4A-8BE7-91AFE629851D}"/>
              </a:ext>
            </a:extLst>
          </p:cNvPr>
          <p:cNvSpPr/>
          <p:nvPr/>
        </p:nvSpPr>
        <p:spPr>
          <a:xfrm>
            <a:off x="6414414" y="5065112"/>
            <a:ext cx="2778062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Bill &amp; Melinda Gates Found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David &amp; Lucile Packard Found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Save the Child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UNFP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USA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WH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Ford Founda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Flemish govern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sz="1100" dirty="0">
                <a:solidFill>
                  <a:srgbClr val="113951"/>
                </a:solidFill>
                <a:latin typeface="Avenir Roman" panose="02000503020000020003" pitchFamily="2" charset="0"/>
              </a:rPr>
              <a:t>Scottish government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D4751641-8C9C-E041-BC16-DA6F6EF656B0}"/>
              </a:ext>
            </a:extLst>
          </p:cNvPr>
          <p:cNvGrpSpPr/>
          <p:nvPr/>
        </p:nvGrpSpPr>
        <p:grpSpPr>
          <a:xfrm>
            <a:off x="1262733" y="838200"/>
            <a:ext cx="7611154" cy="3298825"/>
            <a:chOff x="529530" y="1196975"/>
            <a:chExt cx="9491346" cy="4260850"/>
          </a:xfrm>
        </p:grpSpPr>
        <p:sp>
          <p:nvSpPr>
            <p:cNvPr id="14" name="Freeform 4">
              <a:extLst>
                <a:ext uri="{FF2B5EF4-FFF2-40B4-BE49-F238E27FC236}">
                  <a16:creationId xmlns="" xmlns:a16="http://schemas.microsoft.com/office/drawing/2014/main" id="{762F61A7-A0F1-304B-9731-80612ECB078C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Freeform 5">
              <a:extLst>
                <a:ext uri="{FF2B5EF4-FFF2-40B4-BE49-F238E27FC236}">
                  <a16:creationId xmlns="" xmlns:a16="http://schemas.microsoft.com/office/drawing/2014/main" id="{3E5745AA-333D-CF44-9318-FBE0653BCC61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Freeform 6">
              <a:extLst>
                <a:ext uri="{FF2B5EF4-FFF2-40B4-BE49-F238E27FC236}">
                  <a16:creationId xmlns="" xmlns:a16="http://schemas.microsoft.com/office/drawing/2014/main" id="{2EC84F89-1DB6-6F4A-BDCE-D67FDB3245C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57CFE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" name="Freeform 7">
              <a:extLst>
                <a:ext uri="{FF2B5EF4-FFF2-40B4-BE49-F238E27FC236}">
                  <a16:creationId xmlns="" xmlns:a16="http://schemas.microsoft.com/office/drawing/2014/main" id="{A1B0E707-6FDA-B740-BDA6-9EB45E9DB37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" name="Freeform 8">
              <a:extLst>
                <a:ext uri="{FF2B5EF4-FFF2-40B4-BE49-F238E27FC236}">
                  <a16:creationId xmlns="" xmlns:a16="http://schemas.microsoft.com/office/drawing/2014/main" id="{CCFB9AC7-4E0C-E942-84EB-F5FF7A2FBB90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9">
              <a:extLst>
                <a:ext uri="{FF2B5EF4-FFF2-40B4-BE49-F238E27FC236}">
                  <a16:creationId xmlns="" xmlns:a16="http://schemas.microsoft.com/office/drawing/2014/main" id="{5626DA2E-939C-3244-BFB8-3D09E9C2F614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10">
              <a:extLst>
                <a:ext uri="{FF2B5EF4-FFF2-40B4-BE49-F238E27FC236}">
                  <a16:creationId xmlns="" xmlns:a16="http://schemas.microsoft.com/office/drawing/2014/main" id="{ED56929E-3797-D549-B7DC-F261C74BEDD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11">
              <a:extLst>
                <a:ext uri="{FF2B5EF4-FFF2-40B4-BE49-F238E27FC236}">
                  <a16:creationId xmlns="" xmlns:a16="http://schemas.microsoft.com/office/drawing/2014/main" id="{2F414AA0-44D4-5E4A-8C86-48A1A9C55FA0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12">
              <a:extLst>
                <a:ext uri="{FF2B5EF4-FFF2-40B4-BE49-F238E27FC236}">
                  <a16:creationId xmlns="" xmlns:a16="http://schemas.microsoft.com/office/drawing/2014/main" id="{43B970DE-AE17-9646-81EF-80253CED00CF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13">
              <a:extLst>
                <a:ext uri="{FF2B5EF4-FFF2-40B4-BE49-F238E27FC236}">
                  <a16:creationId xmlns="" xmlns:a16="http://schemas.microsoft.com/office/drawing/2014/main" id="{36CBEA45-99D7-0C4A-81DE-30F3E3BC06EC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4">
              <a:extLst>
                <a:ext uri="{FF2B5EF4-FFF2-40B4-BE49-F238E27FC236}">
                  <a16:creationId xmlns="" xmlns:a16="http://schemas.microsoft.com/office/drawing/2014/main" id="{B3030CF8-8725-AB43-B988-3BD8EBF6D008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57CFE3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15">
              <a:extLst>
                <a:ext uri="{FF2B5EF4-FFF2-40B4-BE49-F238E27FC236}">
                  <a16:creationId xmlns="" xmlns:a16="http://schemas.microsoft.com/office/drawing/2014/main" id="{2940664D-9056-A745-8E10-9D07DBCF7466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16">
              <a:extLst>
                <a:ext uri="{FF2B5EF4-FFF2-40B4-BE49-F238E27FC236}">
                  <a16:creationId xmlns="" xmlns:a16="http://schemas.microsoft.com/office/drawing/2014/main" id="{E402FCEF-7ACE-284D-9391-5E96BFB4E829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17">
              <a:extLst>
                <a:ext uri="{FF2B5EF4-FFF2-40B4-BE49-F238E27FC236}">
                  <a16:creationId xmlns="" xmlns:a16="http://schemas.microsoft.com/office/drawing/2014/main" id="{E313CE4C-2F04-FC4B-8EBD-8550D04BA354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Freeform 18">
              <a:extLst>
                <a:ext uri="{FF2B5EF4-FFF2-40B4-BE49-F238E27FC236}">
                  <a16:creationId xmlns="" xmlns:a16="http://schemas.microsoft.com/office/drawing/2014/main" id="{3FAA2694-8A27-6845-9DE8-3137773A5468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9" name="Group 19">
              <a:extLst>
                <a:ext uri="{FF2B5EF4-FFF2-40B4-BE49-F238E27FC236}">
                  <a16:creationId xmlns="" xmlns:a16="http://schemas.microsoft.com/office/drawing/2014/main" id="{25007467-F5AF-4840-832B-0846F3DCF2DC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574" name="Freeform 20">
                <a:extLst>
                  <a:ext uri="{FF2B5EF4-FFF2-40B4-BE49-F238E27FC236}">
                    <a16:creationId xmlns="" xmlns:a16="http://schemas.microsoft.com/office/drawing/2014/main" id="{C27CAC68-994A-6048-98AA-5F423ED667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5" name="Freeform 21">
                <a:extLst>
                  <a:ext uri="{FF2B5EF4-FFF2-40B4-BE49-F238E27FC236}">
                    <a16:creationId xmlns="" xmlns:a16="http://schemas.microsoft.com/office/drawing/2014/main" id="{54EB50EB-9CDE-934D-B063-48C1D1196A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0" name="Freeform 22">
              <a:extLst>
                <a:ext uri="{FF2B5EF4-FFF2-40B4-BE49-F238E27FC236}">
                  <a16:creationId xmlns="" xmlns:a16="http://schemas.microsoft.com/office/drawing/2014/main" id="{FABF5ADF-B5FC-E54A-A9C4-43340913E3CB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" name="Freeform 23">
              <a:extLst>
                <a:ext uri="{FF2B5EF4-FFF2-40B4-BE49-F238E27FC236}">
                  <a16:creationId xmlns="" xmlns:a16="http://schemas.microsoft.com/office/drawing/2014/main" id="{0D422F51-94C8-3A49-B364-3902DF26268A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24">
              <a:extLst>
                <a:ext uri="{FF2B5EF4-FFF2-40B4-BE49-F238E27FC236}">
                  <a16:creationId xmlns="" xmlns:a16="http://schemas.microsoft.com/office/drawing/2014/main" id="{8AB3360E-3981-5D48-AF3B-C4D4C21EEB6E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25">
              <a:extLst>
                <a:ext uri="{FF2B5EF4-FFF2-40B4-BE49-F238E27FC236}">
                  <a16:creationId xmlns="" xmlns:a16="http://schemas.microsoft.com/office/drawing/2014/main" id="{B61AA2FA-C99D-F24D-A1B2-77A575220C95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Line 26" descr="Horizontal dunkel">
              <a:extLst>
                <a:ext uri="{FF2B5EF4-FFF2-40B4-BE49-F238E27FC236}">
                  <a16:creationId xmlns="" xmlns:a16="http://schemas.microsoft.com/office/drawing/2014/main" id="{267D3D01-013B-3847-82FC-843AA434825A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27">
              <a:extLst>
                <a:ext uri="{FF2B5EF4-FFF2-40B4-BE49-F238E27FC236}">
                  <a16:creationId xmlns="" xmlns:a16="http://schemas.microsoft.com/office/drawing/2014/main" id="{EF6FBD1E-BE4F-EB4C-8BA0-26BB703AE54F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" name="Freeform 28">
              <a:extLst>
                <a:ext uri="{FF2B5EF4-FFF2-40B4-BE49-F238E27FC236}">
                  <a16:creationId xmlns="" xmlns:a16="http://schemas.microsoft.com/office/drawing/2014/main" id="{019501FD-50F0-AF43-B7A3-E085F9756023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Freeform 29">
              <a:extLst>
                <a:ext uri="{FF2B5EF4-FFF2-40B4-BE49-F238E27FC236}">
                  <a16:creationId xmlns="" xmlns:a16="http://schemas.microsoft.com/office/drawing/2014/main" id="{71C4C05A-12D4-A34F-B7A2-5FAEBCED465E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30">
              <a:extLst>
                <a:ext uri="{FF2B5EF4-FFF2-40B4-BE49-F238E27FC236}">
                  <a16:creationId xmlns="" xmlns:a16="http://schemas.microsoft.com/office/drawing/2014/main" id="{4CB2CBBE-576E-844B-AECE-6532F7BE1BBC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31">
              <a:extLst>
                <a:ext uri="{FF2B5EF4-FFF2-40B4-BE49-F238E27FC236}">
                  <a16:creationId xmlns="" xmlns:a16="http://schemas.microsoft.com/office/drawing/2014/main" id="{3B1CBAB8-0161-F940-946E-C9F096C831CA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" name="Freeform 32">
              <a:extLst>
                <a:ext uri="{FF2B5EF4-FFF2-40B4-BE49-F238E27FC236}">
                  <a16:creationId xmlns="" xmlns:a16="http://schemas.microsoft.com/office/drawing/2014/main" id="{3C00193B-2C3B-774B-B2CD-2F0926C17A3D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1" name="Freeform 33">
              <a:extLst>
                <a:ext uri="{FF2B5EF4-FFF2-40B4-BE49-F238E27FC236}">
                  <a16:creationId xmlns="" xmlns:a16="http://schemas.microsoft.com/office/drawing/2014/main" id="{CA8964E1-6886-D64F-85FC-F79DBFD87A4B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34">
              <a:extLst>
                <a:ext uri="{FF2B5EF4-FFF2-40B4-BE49-F238E27FC236}">
                  <a16:creationId xmlns="" xmlns:a16="http://schemas.microsoft.com/office/drawing/2014/main" id="{198A4BB5-D91E-1B4D-AB94-AE2979FD1A31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Freeform 35">
              <a:extLst>
                <a:ext uri="{FF2B5EF4-FFF2-40B4-BE49-F238E27FC236}">
                  <a16:creationId xmlns="" xmlns:a16="http://schemas.microsoft.com/office/drawing/2014/main" id="{6F1778DF-4AD5-BE4A-AAE6-03EF2C986B52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36">
              <a:extLst>
                <a:ext uri="{FF2B5EF4-FFF2-40B4-BE49-F238E27FC236}">
                  <a16:creationId xmlns="" xmlns:a16="http://schemas.microsoft.com/office/drawing/2014/main" id="{8CAD3B47-99AA-8D42-841D-DBFB950E13D2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37">
              <a:extLst>
                <a:ext uri="{FF2B5EF4-FFF2-40B4-BE49-F238E27FC236}">
                  <a16:creationId xmlns="" xmlns:a16="http://schemas.microsoft.com/office/drawing/2014/main" id="{1D987F36-4E4C-FE46-BE33-DD1C92CAEA9A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6" name="Group 38">
              <a:extLst>
                <a:ext uri="{FF2B5EF4-FFF2-40B4-BE49-F238E27FC236}">
                  <a16:creationId xmlns="" xmlns:a16="http://schemas.microsoft.com/office/drawing/2014/main" id="{A7769EAA-DC65-1F4F-AF2C-912987EF33AC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572" name="Freeform 39">
                <a:extLst>
                  <a:ext uri="{FF2B5EF4-FFF2-40B4-BE49-F238E27FC236}">
                    <a16:creationId xmlns="" xmlns:a16="http://schemas.microsoft.com/office/drawing/2014/main" id="{6110FACD-5DD3-8A4E-99D5-0C793075A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3" name="Freeform 40">
                <a:extLst>
                  <a:ext uri="{FF2B5EF4-FFF2-40B4-BE49-F238E27FC236}">
                    <a16:creationId xmlns="" xmlns:a16="http://schemas.microsoft.com/office/drawing/2014/main" id="{BF142780-164D-2E42-A4E9-EE6328B84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7" name="Freeform 41">
              <a:extLst>
                <a:ext uri="{FF2B5EF4-FFF2-40B4-BE49-F238E27FC236}">
                  <a16:creationId xmlns="" xmlns:a16="http://schemas.microsoft.com/office/drawing/2014/main" id="{5EE125AD-0C9B-F842-8403-BB65720CE128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42">
              <a:extLst>
                <a:ext uri="{FF2B5EF4-FFF2-40B4-BE49-F238E27FC236}">
                  <a16:creationId xmlns="" xmlns:a16="http://schemas.microsoft.com/office/drawing/2014/main" id="{FADD2CF9-3999-8046-82FE-A8DFFFD16B3D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43">
              <a:extLst>
                <a:ext uri="{FF2B5EF4-FFF2-40B4-BE49-F238E27FC236}">
                  <a16:creationId xmlns="" xmlns:a16="http://schemas.microsoft.com/office/drawing/2014/main" id="{592D018F-FBD3-E643-B4B2-91ABDAD4CB2D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44">
              <a:extLst>
                <a:ext uri="{FF2B5EF4-FFF2-40B4-BE49-F238E27FC236}">
                  <a16:creationId xmlns="" xmlns:a16="http://schemas.microsoft.com/office/drawing/2014/main" id="{8CE459AF-C64B-9B4E-8710-EB5BBEAF3700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45">
              <a:extLst>
                <a:ext uri="{FF2B5EF4-FFF2-40B4-BE49-F238E27FC236}">
                  <a16:creationId xmlns="" xmlns:a16="http://schemas.microsoft.com/office/drawing/2014/main" id="{0E8B6ADD-A27C-654E-B3C5-7B6BD042AEAF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46">
              <a:extLst>
                <a:ext uri="{FF2B5EF4-FFF2-40B4-BE49-F238E27FC236}">
                  <a16:creationId xmlns="" xmlns:a16="http://schemas.microsoft.com/office/drawing/2014/main" id="{EB9EC4E3-ED50-694D-9449-104D396FB634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Line 47">
              <a:extLst>
                <a:ext uri="{FF2B5EF4-FFF2-40B4-BE49-F238E27FC236}">
                  <a16:creationId xmlns="" xmlns:a16="http://schemas.microsoft.com/office/drawing/2014/main" id="{C9DCCA32-99BC-C745-9F9E-589EE8D8BD4E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Line 48">
              <a:extLst>
                <a:ext uri="{FF2B5EF4-FFF2-40B4-BE49-F238E27FC236}">
                  <a16:creationId xmlns="" xmlns:a16="http://schemas.microsoft.com/office/drawing/2014/main" id="{F29BB009-442D-204F-B325-FAD43592D872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49">
              <a:extLst>
                <a:ext uri="{FF2B5EF4-FFF2-40B4-BE49-F238E27FC236}">
                  <a16:creationId xmlns="" xmlns:a16="http://schemas.microsoft.com/office/drawing/2014/main" id="{A926F3CA-58C9-3D49-B02C-FF04C4E6C247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50">
              <a:extLst>
                <a:ext uri="{FF2B5EF4-FFF2-40B4-BE49-F238E27FC236}">
                  <a16:creationId xmlns="" xmlns:a16="http://schemas.microsoft.com/office/drawing/2014/main" id="{79A552AF-402D-DF44-965D-725BE77FADA4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51">
              <a:extLst>
                <a:ext uri="{FF2B5EF4-FFF2-40B4-BE49-F238E27FC236}">
                  <a16:creationId xmlns="" xmlns:a16="http://schemas.microsoft.com/office/drawing/2014/main" id="{AD707181-8E6F-8941-AA8A-E3E04297D3A5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52">
              <a:extLst>
                <a:ext uri="{FF2B5EF4-FFF2-40B4-BE49-F238E27FC236}">
                  <a16:creationId xmlns="" xmlns:a16="http://schemas.microsoft.com/office/drawing/2014/main" id="{873CF8C9-390D-A34F-ABA1-7978D4E70DC0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53">
              <a:extLst>
                <a:ext uri="{FF2B5EF4-FFF2-40B4-BE49-F238E27FC236}">
                  <a16:creationId xmlns="" xmlns:a16="http://schemas.microsoft.com/office/drawing/2014/main" id="{4F8EB09D-0A8D-874B-9F64-7E2A4F8A467A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54">
              <a:extLst>
                <a:ext uri="{FF2B5EF4-FFF2-40B4-BE49-F238E27FC236}">
                  <a16:creationId xmlns="" xmlns:a16="http://schemas.microsoft.com/office/drawing/2014/main" id="{8591CC61-92A0-F144-94AD-BFB182A843E8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55">
              <a:extLst>
                <a:ext uri="{FF2B5EF4-FFF2-40B4-BE49-F238E27FC236}">
                  <a16:creationId xmlns="" xmlns:a16="http://schemas.microsoft.com/office/drawing/2014/main" id="{FA2B0FE7-6CC6-FD4E-B51A-87ADE111789F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56">
              <a:extLst>
                <a:ext uri="{FF2B5EF4-FFF2-40B4-BE49-F238E27FC236}">
                  <a16:creationId xmlns="" xmlns:a16="http://schemas.microsoft.com/office/drawing/2014/main" id="{271ED749-0492-924B-8391-27A3FD2CD19F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57">
              <a:extLst>
                <a:ext uri="{FF2B5EF4-FFF2-40B4-BE49-F238E27FC236}">
                  <a16:creationId xmlns="" xmlns:a16="http://schemas.microsoft.com/office/drawing/2014/main" id="{C0CD79D3-EB4A-F848-93D9-ABC848EA42D3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4" name="Group 58">
              <a:extLst>
                <a:ext uri="{FF2B5EF4-FFF2-40B4-BE49-F238E27FC236}">
                  <a16:creationId xmlns="" xmlns:a16="http://schemas.microsoft.com/office/drawing/2014/main" id="{B05A1E4D-C60C-ED45-BCE9-5F376E4C3FAA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562" name="Freeform 59">
                <a:extLst>
                  <a:ext uri="{FF2B5EF4-FFF2-40B4-BE49-F238E27FC236}">
                    <a16:creationId xmlns="" xmlns:a16="http://schemas.microsoft.com/office/drawing/2014/main" id="{AB74F45C-DABC-7245-8D5B-B6287C0A9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3" name="Freeform 60">
                <a:extLst>
                  <a:ext uri="{FF2B5EF4-FFF2-40B4-BE49-F238E27FC236}">
                    <a16:creationId xmlns="" xmlns:a16="http://schemas.microsoft.com/office/drawing/2014/main" id="{E89EAD14-C902-794F-9F0E-8CBEBDD077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4" name="Freeform 61">
                <a:extLst>
                  <a:ext uri="{FF2B5EF4-FFF2-40B4-BE49-F238E27FC236}">
                    <a16:creationId xmlns="" xmlns:a16="http://schemas.microsoft.com/office/drawing/2014/main" id="{59335D8D-3E57-1242-AD23-1F0310EB1D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5" name="Freeform 62">
                <a:extLst>
                  <a:ext uri="{FF2B5EF4-FFF2-40B4-BE49-F238E27FC236}">
                    <a16:creationId xmlns="" xmlns:a16="http://schemas.microsoft.com/office/drawing/2014/main" id="{63E24524-6016-6647-B8FF-766BB6C88C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6" name="Freeform 63">
                <a:extLst>
                  <a:ext uri="{FF2B5EF4-FFF2-40B4-BE49-F238E27FC236}">
                    <a16:creationId xmlns="" xmlns:a16="http://schemas.microsoft.com/office/drawing/2014/main" id="{72E1E6CF-7AE5-8B4E-AC66-AA372472D2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7" name="Freeform 64">
                <a:extLst>
                  <a:ext uri="{FF2B5EF4-FFF2-40B4-BE49-F238E27FC236}">
                    <a16:creationId xmlns="" xmlns:a16="http://schemas.microsoft.com/office/drawing/2014/main" id="{3D5DE3D5-9B4C-5E44-BDF9-84F0CD137B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8" name="Freeform 65">
                <a:extLst>
                  <a:ext uri="{FF2B5EF4-FFF2-40B4-BE49-F238E27FC236}">
                    <a16:creationId xmlns="" xmlns:a16="http://schemas.microsoft.com/office/drawing/2014/main" id="{1EF27855-9750-FF49-8F22-DAAFB617F7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9" name="Freeform 66">
                <a:extLst>
                  <a:ext uri="{FF2B5EF4-FFF2-40B4-BE49-F238E27FC236}">
                    <a16:creationId xmlns="" xmlns:a16="http://schemas.microsoft.com/office/drawing/2014/main" id="{D608CF8D-4AB5-7E4E-8D0C-0883CC66F0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0" name="Freeform 67">
                <a:extLst>
                  <a:ext uri="{FF2B5EF4-FFF2-40B4-BE49-F238E27FC236}">
                    <a16:creationId xmlns="" xmlns:a16="http://schemas.microsoft.com/office/drawing/2014/main" id="{209767F5-BCE9-A44D-9D42-2258B9258C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71" name="Freeform 68">
                <a:extLst>
                  <a:ext uri="{FF2B5EF4-FFF2-40B4-BE49-F238E27FC236}">
                    <a16:creationId xmlns="" xmlns:a16="http://schemas.microsoft.com/office/drawing/2014/main" id="{6396F8FD-F054-2D4F-86D2-7EB7FED60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5" name="Freeform 69">
              <a:extLst>
                <a:ext uri="{FF2B5EF4-FFF2-40B4-BE49-F238E27FC236}">
                  <a16:creationId xmlns="" xmlns:a16="http://schemas.microsoft.com/office/drawing/2014/main" id="{2A59E6ED-9A01-144C-AA94-AB68A2083A25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70">
              <a:extLst>
                <a:ext uri="{FF2B5EF4-FFF2-40B4-BE49-F238E27FC236}">
                  <a16:creationId xmlns="" xmlns:a16="http://schemas.microsoft.com/office/drawing/2014/main" id="{88680A03-00AA-2B4F-9EA5-C4706423F4CE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71">
              <a:extLst>
                <a:ext uri="{FF2B5EF4-FFF2-40B4-BE49-F238E27FC236}">
                  <a16:creationId xmlns="" xmlns:a16="http://schemas.microsoft.com/office/drawing/2014/main" id="{A0638B0B-E920-794A-904B-24A5AC7E9C8F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Freeform 72">
              <a:extLst>
                <a:ext uri="{FF2B5EF4-FFF2-40B4-BE49-F238E27FC236}">
                  <a16:creationId xmlns="" xmlns:a16="http://schemas.microsoft.com/office/drawing/2014/main" id="{14DC5AAE-749C-E64E-9BAB-6B5602E39C75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9" name="Group 73">
              <a:extLst>
                <a:ext uri="{FF2B5EF4-FFF2-40B4-BE49-F238E27FC236}">
                  <a16:creationId xmlns="" xmlns:a16="http://schemas.microsoft.com/office/drawing/2014/main" id="{117582A9-31F7-5741-B325-1DA37A4C3ACC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559" name="Freeform 74">
                <a:extLst>
                  <a:ext uri="{FF2B5EF4-FFF2-40B4-BE49-F238E27FC236}">
                    <a16:creationId xmlns="" xmlns:a16="http://schemas.microsoft.com/office/drawing/2014/main" id="{23388CA7-C413-E248-91BD-44F383F335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0" name="Freeform 75">
                <a:extLst>
                  <a:ext uri="{FF2B5EF4-FFF2-40B4-BE49-F238E27FC236}">
                    <a16:creationId xmlns="" xmlns:a16="http://schemas.microsoft.com/office/drawing/2014/main" id="{F5C821A1-0971-3448-9633-D5104D0B84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1" name="Freeform 76">
                <a:extLst>
                  <a:ext uri="{FF2B5EF4-FFF2-40B4-BE49-F238E27FC236}">
                    <a16:creationId xmlns="" xmlns:a16="http://schemas.microsoft.com/office/drawing/2014/main" id="{EA233678-1186-C644-99A6-BFBFAEC456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70" name="Freeform 77">
              <a:extLst>
                <a:ext uri="{FF2B5EF4-FFF2-40B4-BE49-F238E27FC236}">
                  <a16:creationId xmlns="" xmlns:a16="http://schemas.microsoft.com/office/drawing/2014/main" id="{6A2E94BE-833A-3E44-9253-D341C4D03BE1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78">
              <a:extLst>
                <a:ext uri="{FF2B5EF4-FFF2-40B4-BE49-F238E27FC236}">
                  <a16:creationId xmlns="" xmlns:a16="http://schemas.microsoft.com/office/drawing/2014/main" id="{8AC3CDB8-40EB-6043-876C-E409EBD0BA4A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79">
              <a:extLst>
                <a:ext uri="{FF2B5EF4-FFF2-40B4-BE49-F238E27FC236}">
                  <a16:creationId xmlns="" xmlns:a16="http://schemas.microsoft.com/office/drawing/2014/main" id="{D3D1001E-5886-AE40-B6EF-9BD078C43AF5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80">
              <a:extLst>
                <a:ext uri="{FF2B5EF4-FFF2-40B4-BE49-F238E27FC236}">
                  <a16:creationId xmlns="" xmlns:a16="http://schemas.microsoft.com/office/drawing/2014/main" id="{9ED0C351-46D1-C446-A365-ADEB55732CCA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81">
              <a:extLst>
                <a:ext uri="{FF2B5EF4-FFF2-40B4-BE49-F238E27FC236}">
                  <a16:creationId xmlns="" xmlns:a16="http://schemas.microsoft.com/office/drawing/2014/main" id="{1D6BF3FD-B01D-7C43-9AF6-7BD70161661B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82">
              <a:extLst>
                <a:ext uri="{FF2B5EF4-FFF2-40B4-BE49-F238E27FC236}">
                  <a16:creationId xmlns="" xmlns:a16="http://schemas.microsoft.com/office/drawing/2014/main" id="{23158B43-6ED7-1943-90DB-40E9D21FB416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83">
              <a:extLst>
                <a:ext uri="{FF2B5EF4-FFF2-40B4-BE49-F238E27FC236}">
                  <a16:creationId xmlns="" xmlns:a16="http://schemas.microsoft.com/office/drawing/2014/main" id="{41B42EA2-8B51-5A4A-8D6C-A38CFBC7C093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84">
              <a:extLst>
                <a:ext uri="{FF2B5EF4-FFF2-40B4-BE49-F238E27FC236}">
                  <a16:creationId xmlns="" xmlns:a16="http://schemas.microsoft.com/office/drawing/2014/main" id="{02D19B40-CBE2-6F41-A2F2-16DA10B1A34B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85">
              <a:extLst>
                <a:ext uri="{FF2B5EF4-FFF2-40B4-BE49-F238E27FC236}">
                  <a16:creationId xmlns="" xmlns:a16="http://schemas.microsoft.com/office/drawing/2014/main" id="{CAB54EAD-C0C5-724F-94FA-DF1F2A86D528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9" name="Freeform 86">
              <a:extLst>
                <a:ext uri="{FF2B5EF4-FFF2-40B4-BE49-F238E27FC236}">
                  <a16:creationId xmlns="" xmlns:a16="http://schemas.microsoft.com/office/drawing/2014/main" id="{92DE608F-8A2B-DE40-8201-95015C2A5463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Freeform 87">
              <a:extLst>
                <a:ext uri="{FF2B5EF4-FFF2-40B4-BE49-F238E27FC236}">
                  <a16:creationId xmlns="" xmlns:a16="http://schemas.microsoft.com/office/drawing/2014/main" id="{617302C6-CC4A-F74F-BBB0-DF75147239F4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20 w 73"/>
                <a:gd name="T3" fmla="*/ 0 h 57150"/>
                <a:gd name="T4" fmla="*/ 37 w 73"/>
                <a:gd name="T5" fmla="*/ 0 h 57150"/>
                <a:gd name="T6" fmla="*/ 55 w 73"/>
                <a:gd name="T7" fmla="*/ 0 h 57150"/>
                <a:gd name="T8" fmla="*/ 73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1" name="Freeform 88">
              <a:extLst>
                <a:ext uri="{FF2B5EF4-FFF2-40B4-BE49-F238E27FC236}">
                  <a16:creationId xmlns="" xmlns:a16="http://schemas.microsoft.com/office/drawing/2014/main" id="{F3E84F11-B3B8-8E4C-A37F-1B56FFF8FD81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2" name="Line 89">
              <a:extLst>
                <a:ext uri="{FF2B5EF4-FFF2-40B4-BE49-F238E27FC236}">
                  <a16:creationId xmlns="" xmlns:a16="http://schemas.microsoft.com/office/drawing/2014/main" id="{AECE8C10-2B1D-AC46-BDF9-5E998AD86602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3" name="Freeform 90">
              <a:extLst>
                <a:ext uri="{FF2B5EF4-FFF2-40B4-BE49-F238E27FC236}">
                  <a16:creationId xmlns="" xmlns:a16="http://schemas.microsoft.com/office/drawing/2014/main" id="{7D761C56-23BE-A042-9C4D-599B82CC31E8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6 h 13"/>
                <a:gd name="T4" fmla="*/ 0 w 1588"/>
                <a:gd name="T5" fmla="*/ 13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Freeform 91">
              <a:extLst>
                <a:ext uri="{FF2B5EF4-FFF2-40B4-BE49-F238E27FC236}">
                  <a16:creationId xmlns="" xmlns:a16="http://schemas.microsoft.com/office/drawing/2014/main" id="{354E3854-8F1A-A64A-9523-20298D48A76A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15 w 26"/>
                <a:gd name="T3" fmla="*/ 0 h 58738"/>
                <a:gd name="T4" fmla="*/ 26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Freeform 92">
              <a:extLst>
                <a:ext uri="{FF2B5EF4-FFF2-40B4-BE49-F238E27FC236}">
                  <a16:creationId xmlns="" xmlns:a16="http://schemas.microsoft.com/office/drawing/2014/main" id="{977DA1D7-AE4C-1C4E-B25A-824A6D312447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Freeform 93">
              <a:extLst>
                <a:ext uri="{FF2B5EF4-FFF2-40B4-BE49-F238E27FC236}">
                  <a16:creationId xmlns="" xmlns:a16="http://schemas.microsoft.com/office/drawing/2014/main" id="{B048AC2A-A596-9046-93D6-43139B61BBA8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7" name="Group 94">
              <a:extLst>
                <a:ext uri="{FF2B5EF4-FFF2-40B4-BE49-F238E27FC236}">
                  <a16:creationId xmlns="" xmlns:a16="http://schemas.microsoft.com/office/drawing/2014/main" id="{460966CE-356A-5B44-B64D-C4878DC4A1E7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550" name="Freeform 95">
                <a:extLst>
                  <a:ext uri="{FF2B5EF4-FFF2-40B4-BE49-F238E27FC236}">
                    <a16:creationId xmlns="" xmlns:a16="http://schemas.microsoft.com/office/drawing/2014/main" id="{FED56ABC-25F3-9F47-81CB-3695223F7D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1" name="Freeform 96">
                <a:extLst>
                  <a:ext uri="{FF2B5EF4-FFF2-40B4-BE49-F238E27FC236}">
                    <a16:creationId xmlns="" xmlns:a16="http://schemas.microsoft.com/office/drawing/2014/main" id="{C0D4B8D4-4584-9F48-AD70-782BAFBE34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2" name="Freeform 97">
                <a:extLst>
                  <a:ext uri="{FF2B5EF4-FFF2-40B4-BE49-F238E27FC236}">
                    <a16:creationId xmlns="" xmlns:a16="http://schemas.microsoft.com/office/drawing/2014/main" id="{8B9363EA-7479-F64C-9534-5F469748FB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3" name="Freeform 98">
                <a:extLst>
                  <a:ext uri="{FF2B5EF4-FFF2-40B4-BE49-F238E27FC236}">
                    <a16:creationId xmlns="" xmlns:a16="http://schemas.microsoft.com/office/drawing/2014/main" id="{AAC041C7-2963-EA48-90A6-335D7096D1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4" name="Freeform 99">
                <a:extLst>
                  <a:ext uri="{FF2B5EF4-FFF2-40B4-BE49-F238E27FC236}">
                    <a16:creationId xmlns="" xmlns:a16="http://schemas.microsoft.com/office/drawing/2014/main" id="{A3F49BBE-753E-A541-BA8F-E190257978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5" name="Line 100">
                <a:extLst>
                  <a:ext uri="{FF2B5EF4-FFF2-40B4-BE49-F238E27FC236}">
                    <a16:creationId xmlns="" xmlns:a16="http://schemas.microsoft.com/office/drawing/2014/main" id="{B5E5DFD3-62E4-3A47-8440-200013F297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6" name="Freeform 101">
                <a:extLst>
                  <a:ext uri="{FF2B5EF4-FFF2-40B4-BE49-F238E27FC236}">
                    <a16:creationId xmlns="" xmlns:a16="http://schemas.microsoft.com/office/drawing/2014/main" id="{3967D134-BDD7-B64D-AD8F-C997EE58F7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19 h 19"/>
                  <a:gd name="T2" fmla="*/ 0 w 1"/>
                  <a:gd name="T3" fmla="*/ 9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7" name="Line 102">
                <a:extLst>
                  <a:ext uri="{FF2B5EF4-FFF2-40B4-BE49-F238E27FC236}">
                    <a16:creationId xmlns="" xmlns:a16="http://schemas.microsoft.com/office/drawing/2014/main" id="{E355EBBE-B568-2C4F-8028-BBC47F325E0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8" name="Freeform 103">
                <a:extLst>
                  <a:ext uri="{FF2B5EF4-FFF2-40B4-BE49-F238E27FC236}">
                    <a16:creationId xmlns="" xmlns:a16="http://schemas.microsoft.com/office/drawing/2014/main" id="{64523D67-65E6-CF4D-A00E-248B2EC009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88" name="Freeform 104">
              <a:extLst>
                <a:ext uri="{FF2B5EF4-FFF2-40B4-BE49-F238E27FC236}">
                  <a16:creationId xmlns="" xmlns:a16="http://schemas.microsoft.com/office/drawing/2014/main" id="{81347AF6-F3D7-6945-AEA3-19683C9F46D5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105">
              <a:extLst>
                <a:ext uri="{FF2B5EF4-FFF2-40B4-BE49-F238E27FC236}">
                  <a16:creationId xmlns="" xmlns:a16="http://schemas.microsoft.com/office/drawing/2014/main" id="{8AE2B727-0985-8846-B022-299338141BC6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Freeform 106">
              <a:extLst>
                <a:ext uri="{FF2B5EF4-FFF2-40B4-BE49-F238E27FC236}">
                  <a16:creationId xmlns="" xmlns:a16="http://schemas.microsoft.com/office/drawing/2014/main" id="{0BE5B1D0-059E-2A49-8A44-1E1E0C5F7BE5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107">
              <a:extLst>
                <a:ext uri="{FF2B5EF4-FFF2-40B4-BE49-F238E27FC236}">
                  <a16:creationId xmlns="" xmlns:a16="http://schemas.microsoft.com/office/drawing/2014/main" id="{2FA2A6E8-C5E0-C740-82E6-3044D4FC6C51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108">
              <a:extLst>
                <a:ext uri="{FF2B5EF4-FFF2-40B4-BE49-F238E27FC236}">
                  <a16:creationId xmlns="" xmlns:a16="http://schemas.microsoft.com/office/drawing/2014/main" id="{6C3B1D4F-5753-A940-AAB4-3E57011EC60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109">
              <a:extLst>
                <a:ext uri="{FF2B5EF4-FFF2-40B4-BE49-F238E27FC236}">
                  <a16:creationId xmlns="" xmlns:a16="http://schemas.microsoft.com/office/drawing/2014/main" id="{B174FE6C-E07E-AE48-8502-8CE2875863A9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110">
              <a:extLst>
                <a:ext uri="{FF2B5EF4-FFF2-40B4-BE49-F238E27FC236}">
                  <a16:creationId xmlns="" xmlns:a16="http://schemas.microsoft.com/office/drawing/2014/main" id="{C6FFE7BA-EE92-0140-8776-34A1150F82BF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111">
              <a:extLst>
                <a:ext uri="{FF2B5EF4-FFF2-40B4-BE49-F238E27FC236}">
                  <a16:creationId xmlns="" xmlns:a16="http://schemas.microsoft.com/office/drawing/2014/main" id="{F2C446FB-A570-2041-812E-B295D5262A29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112">
              <a:extLst>
                <a:ext uri="{FF2B5EF4-FFF2-40B4-BE49-F238E27FC236}">
                  <a16:creationId xmlns="" xmlns:a16="http://schemas.microsoft.com/office/drawing/2014/main" id="{9489DADD-70E0-FA46-BC80-B3606F958387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113">
              <a:extLst>
                <a:ext uri="{FF2B5EF4-FFF2-40B4-BE49-F238E27FC236}">
                  <a16:creationId xmlns="" xmlns:a16="http://schemas.microsoft.com/office/drawing/2014/main" id="{6637BDA8-E88B-2945-970D-4F36714888E2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Freeform 114">
              <a:extLst>
                <a:ext uri="{FF2B5EF4-FFF2-40B4-BE49-F238E27FC236}">
                  <a16:creationId xmlns="" xmlns:a16="http://schemas.microsoft.com/office/drawing/2014/main" id="{44509289-C0FB-7D4D-84F6-469BCD6FDC91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15">
              <a:extLst>
                <a:ext uri="{FF2B5EF4-FFF2-40B4-BE49-F238E27FC236}">
                  <a16:creationId xmlns="" xmlns:a16="http://schemas.microsoft.com/office/drawing/2014/main" id="{46948B45-8280-2249-B074-BF60792B8A7F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116">
              <a:extLst>
                <a:ext uri="{FF2B5EF4-FFF2-40B4-BE49-F238E27FC236}">
                  <a16:creationId xmlns="" xmlns:a16="http://schemas.microsoft.com/office/drawing/2014/main" id="{1DF211A5-DF94-6F4F-B163-012AC57BD9E6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1" name="Group 117">
              <a:extLst>
                <a:ext uri="{FF2B5EF4-FFF2-40B4-BE49-F238E27FC236}">
                  <a16:creationId xmlns="" xmlns:a16="http://schemas.microsoft.com/office/drawing/2014/main" id="{6EBED0E2-0F5B-EF41-8604-016A8DD4CC19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519" name="Freeform 118">
                <a:extLst>
                  <a:ext uri="{FF2B5EF4-FFF2-40B4-BE49-F238E27FC236}">
                    <a16:creationId xmlns="" xmlns:a16="http://schemas.microsoft.com/office/drawing/2014/main" id="{2C36831C-1D56-6C43-9204-62C7935AB1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0" name="Freeform 119">
                <a:extLst>
                  <a:ext uri="{FF2B5EF4-FFF2-40B4-BE49-F238E27FC236}">
                    <a16:creationId xmlns="" xmlns:a16="http://schemas.microsoft.com/office/drawing/2014/main" id="{8292EE94-7B8E-8541-9F16-F6A684E55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1" name="Freeform 120">
                <a:extLst>
                  <a:ext uri="{FF2B5EF4-FFF2-40B4-BE49-F238E27FC236}">
                    <a16:creationId xmlns="" xmlns:a16="http://schemas.microsoft.com/office/drawing/2014/main" id="{7C9BBDDD-2ABC-D440-993F-0E56C39CCD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10 w 19"/>
                  <a:gd name="T3" fmla="*/ 0 h 1"/>
                  <a:gd name="T4" fmla="*/ 19 w 19"/>
                  <a:gd name="T5" fmla="*/ 0 h 1"/>
                  <a:gd name="T6" fmla="*/ 1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2" name="Rectangle 121">
                <a:extLst>
                  <a:ext uri="{FF2B5EF4-FFF2-40B4-BE49-F238E27FC236}">
                    <a16:creationId xmlns="" xmlns:a16="http://schemas.microsoft.com/office/drawing/2014/main" id="{5C0FEFF0-E0CC-FC45-9862-2EA90B2DC2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23" name="Line 122">
                <a:extLst>
                  <a:ext uri="{FF2B5EF4-FFF2-40B4-BE49-F238E27FC236}">
                    <a16:creationId xmlns="" xmlns:a16="http://schemas.microsoft.com/office/drawing/2014/main" id="{0A1974A9-8E2A-7949-9762-A997F3844D9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4" name="Freeform 123">
                <a:extLst>
                  <a:ext uri="{FF2B5EF4-FFF2-40B4-BE49-F238E27FC236}">
                    <a16:creationId xmlns="" xmlns:a16="http://schemas.microsoft.com/office/drawing/2014/main" id="{F738B56F-D886-0C40-A23F-8E96D0647D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5" name="Freeform 124">
                <a:extLst>
                  <a:ext uri="{FF2B5EF4-FFF2-40B4-BE49-F238E27FC236}">
                    <a16:creationId xmlns="" xmlns:a16="http://schemas.microsoft.com/office/drawing/2014/main" id="{31EA9FE5-9190-C74B-89E4-A864718A1E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6" name="Line 125">
                <a:extLst>
                  <a:ext uri="{FF2B5EF4-FFF2-40B4-BE49-F238E27FC236}">
                    <a16:creationId xmlns="" xmlns:a16="http://schemas.microsoft.com/office/drawing/2014/main" id="{DEFC529F-0B6A-E847-8645-CDA0D31E68A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7" name="Freeform 126">
                <a:extLst>
                  <a:ext uri="{FF2B5EF4-FFF2-40B4-BE49-F238E27FC236}">
                    <a16:creationId xmlns="" xmlns:a16="http://schemas.microsoft.com/office/drawing/2014/main" id="{57A6A928-2F1E-DB42-9E24-19B7D3BF61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8" name="Freeform 127">
                <a:extLst>
                  <a:ext uri="{FF2B5EF4-FFF2-40B4-BE49-F238E27FC236}">
                    <a16:creationId xmlns="" xmlns:a16="http://schemas.microsoft.com/office/drawing/2014/main" id="{FB406C7C-6A75-7941-8DD2-FCC5A110C4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29" name="Line 128">
                <a:extLst>
                  <a:ext uri="{FF2B5EF4-FFF2-40B4-BE49-F238E27FC236}">
                    <a16:creationId xmlns="" xmlns:a16="http://schemas.microsoft.com/office/drawing/2014/main" id="{10D07AE7-A9B3-EF4F-BBB7-3056E35AF3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0" name="Freeform 129">
                <a:extLst>
                  <a:ext uri="{FF2B5EF4-FFF2-40B4-BE49-F238E27FC236}">
                    <a16:creationId xmlns="" xmlns:a16="http://schemas.microsoft.com/office/drawing/2014/main" id="{07B89281-E628-FD4C-BB4C-AAAF301F9B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1" name="Freeform 130">
                <a:extLst>
                  <a:ext uri="{FF2B5EF4-FFF2-40B4-BE49-F238E27FC236}">
                    <a16:creationId xmlns="" xmlns:a16="http://schemas.microsoft.com/office/drawing/2014/main" id="{414BC8C9-EAB3-5B4C-BB5E-95368C80D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2" name="Freeform 131">
                <a:extLst>
                  <a:ext uri="{FF2B5EF4-FFF2-40B4-BE49-F238E27FC236}">
                    <a16:creationId xmlns="" xmlns:a16="http://schemas.microsoft.com/office/drawing/2014/main" id="{370B0338-9330-E742-BA4C-F73D70AD5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3" name="Freeform 132">
                <a:extLst>
                  <a:ext uri="{FF2B5EF4-FFF2-40B4-BE49-F238E27FC236}">
                    <a16:creationId xmlns="" xmlns:a16="http://schemas.microsoft.com/office/drawing/2014/main" id="{BB788CAA-61DD-684A-A8B1-AC2596162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4" name="Freeform 133">
                <a:extLst>
                  <a:ext uri="{FF2B5EF4-FFF2-40B4-BE49-F238E27FC236}">
                    <a16:creationId xmlns="" xmlns:a16="http://schemas.microsoft.com/office/drawing/2014/main" id="{E40BAAB2-56A3-B543-8AED-875F7D1D87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5" name="Freeform 134">
                <a:extLst>
                  <a:ext uri="{FF2B5EF4-FFF2-40B4-BE49-F238E27FC236}">
                    <a16:creationId xmlns="" xmlns:a16="http://schemas.microsoft.com/office/drawing/2014/main" id="{8A53CFC5-F8E0-FC4B-AA45-82141451A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6" name="Freeform 135">
                <a:extLst>
                  <a:ext uri="{FF2B5EF4-FFF2-40B4-BE49-F238E27FC236}">
                    <a16:creationId xmlns="" xmlns:a16="http://schemas.microsoft.com/office/drawing/2014/main" id="{4AD00FD2-268F-A345-A3F1-7C958D205AC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10 w 19"/>
                  <a:gd name="T3" fmla="*/ 0 h 1"/>
                  <a:gd name="T4" fmla="*/ 19 w 19"/>
                  <a:gd name="T5" fmla="*/ 0 h 1"/>
                  <a:gd name="T6" fmla="*/ 1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7" name="Rectangle 136">
                <a:extLst>
                  <a:ext uri="{FF2B5EF4-FFF2-40B4-BE49-F238E27FC236}">
                    <a16:creationId xmlns="" xmlns:a16="http://schemas.microsoft.com/office/drawing/2014/main" id="{717B1E18-A63D-AD43-8E96-FF7796C423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538" name="Line 137">
                <a:extLst>
                  <a:ext uri="{FF2B5EF4-FFF2-40B4-BE49-F238E27FC236}">
                    <a16:creationId xmlns="" xmlns:a16="http://schemas.microsoft.com/office/drawing/2014/main" id="{47D28E89-4690-574E-B1D7-5FD9387A5F4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39" name="Freeform 138">
                <a:extLst>
                  <a:ext uri="{FF2B5EF4-FFF2-40B4-BE49-F238E27FC236}">
                    <a16:creationId xmlns="" xmlns:a16="http://schemas.microsoft.com/office/drawing/2014/main" id="{B4EB9E2F-4C8E-6E41-A1C7-84C8C2FE79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0" name="Freeform 139">
                <a:extLst>
                  <a:ext uri="{FF2B5EF4-FFF2-40B4-BE49-F238E27FC236}">
                    <a16:creationId xmlns="" xmlns:a16="http://schemas.microsoft.com/office/drawing/2014/main" id="{91B0A0F3-AEE9-CE4F-97BA-E0928356B8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1" name="Line 140">
                <a:extLst>
                  <a:ext uri="{FF2B5EF4-FFF2-40B4-BE49-F238E27FC236}">
                    <a16:creationId xmlns="" xmlns:a16="http://schemas.microsoft.com/office/drawing/2014/main" id="{2AACD4C3-568F-8E48-9B08-872C8467749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2" name="Freeform 141">
                <a:extLst>
                  <a:ext uri="{FF2B5EF4-FFF2-40B4-BE49-F238E27FC236}">
                    <a16:creationId xmlns="" xmlns:a16="http://schemas.microsoft.com/office/drawing/2014/main" id="{D9A5BB03-B4A9-6540-AF20-1756C02BC7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3" name="Freeform 142">
                <a:extLst>
                  <a:ext uri="{FF2B5EF4-FFF2-40B4-BE49-F238E27FC236}">
                    <a16:creationId xmlns="" xmlns:a16="http://schemas.microsoft.com/office/drawing/2014/main" id="{D7481C9A-F39B-2549-A30A-581824420C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4" name="Line 143">
                <a:extLst>
                  <a:ext uri="{FF2B5EF4-FFF2-40B4-BE49-F238E27FC236}">
                    <a16:creationId xmlns="" xmlns:a16="http://schemas.microsoft.com/office/drawing/2014/main" id="{0F00A08E-A529-3740-BC96-6EC2658DC20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5" name="Freeform 144">
                <a:extLst>
                  <a:ext uri="{FF2B5EF4-FFF2-40B4-BE49-F238E27FC236}">
                    <a16:creationId xmlns="" xmlns:a16="http://schemas.microsoft.com/office/drawing/2014/main" id="{CBE7BF95-A15B-9143-B00A-446DD261CC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6" name="Freeform 145">
                <a:extLst>
                  <a:ext uri="{FF2B5EF4-FFF2-40B4-BE49-F238E27FC236}">
                    <a16:creationId xmlns="" xmlns:a16="http://schemas.microsoft.com/office/drawing/2014/main" id="{B45567C3-E5D3-A044-98BC-99667055F1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146">
                <a:extLst>
                  <a:ext uri="{FF2B5EF4-FFF2-40B4-BE49-F238E27FC236}">
                    <a16:creationId xmlns="" xmlns:a16="http://schemas.microsoft.com/office/drawing/2014/main" id="{202D1EAB-FB21-E74F-90E7-4ADA56DDC3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8" name="Freeform 147">
                <a:extLst>
                  <a:ext uri="{FF2B5EF4-FFF2-40B4-BE49-F238E27FC236}">
                    <a16:creationId xmlns="" xmlns:a16="http://schemas.microsoft.com/office/drawing/2014/main" id="{0C95B62F-9DF6-4D46-8D70-8CC0C72911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9" name="Freeform 148">
                <a:extLst>
                  <a:ext uri="{FF2B5EF4-FFF2-40B4-BE49-F238E27FC236}">
                    <a16:creationId xmlns="" xmlns:a16="http://schemas.microsoft.com/office/drawing/2014/main" id="{F877EF98-D900-B249-9429-7C2B948DA2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02" name="Group 149">
              <a:extLst>
                <a:ext uri="{FF2B5EF4-FFF2-40B4-BE49-F238E27FC236}">
                  <a16:creationId xmlns="" xmlns:a16="http://schemas.microsoft.com/office/drawing/2014/main" id="{45A420A8-056D-BB47-9635-1A83FC970097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510" name="Freeform 150">
                <a:extLst>
                  <a:ext uri="{FF2B5EF4-FFF2-40B4-BE49-F238E27FC236}">
                    <a16:creationId xmlns="" xmlns:a16="http://schemas.microsoft.com/office/drawing/2014/main" id="{10F3C137-FA94-9C40-9AF9-DF16AD8B2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1" name="Freeform 151">
                <a:extLst>
                  <a:ext uri="{FF2B5EF4-FFF2-40B4-BE49-F238E27FC236}">
                    <a16:creationId xmlns="" xmlns:a16="http://schemas.microsoft.com/office/drawing/2014/main" id="{507E9B30-1FF7-3C46-833D-4BC4BE64B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2" name="Freeform 152">
                <a:extLst>
                  <a:ext uri="{FF2B5EF4-FFF2-40B4-BE49-F238E27FC236}">
                    <a16:creationId xmlns="" xmlns:a16="http://schemas.microsoft.com/office/drawing/2014/main" id="{A601A903-9B9A-0F46-8F8F-1EEFBD0E98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3" name="Freeform 153">
                <a:extLst>
                  <a:ext uri="{FF2B5EF4-FFF2-40B4-BE49-F238E27FC236}">
                    <a16:creationId xmlns="" xmlns:a16="http://schemas.microsoft.com/office/drawing/2014/main" id="{5C0D69DF-7519-3C41-9655-6EB7ECDC0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4" name="Freeform 154">
                <a:extLst>
                  <a:ext uri="{FF2B5EF4-FFF2-40B4-BE49-F238E27FC236}">
                    <a16:creationId xmlns="" xmlns:a16="http://schemas.microsoft.com/office/drawing/2014/main" id="{102E5DA4-0703-0E47-BDCD-7213E69AD4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5" name="Freeform 155">
                <a:extLst>
                  <a:ext uri="{FF2B5EF4-FFF2-40B4-BE49-F238E27FC236}">
                    <a16:creationId xmlns="" xmlns:a16="http://schemas.microsoft.com/office/drawing/2014/main" id="{EE87FE92-CFCB-724B-809F-CBEBC52517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6" name="Freeform 156">
                <a:extLst>
                  <a:ext uri="{FF2B5EF4-FFF2-40B4-BE49-F238E27FC236}">
                    <a16:creationId xmlns="" xmlns:a16="http://schemas.microsoft.com/office/drawing/2014/main" id="{EEE3FC1B-3542-1541-B245-1DF649AC8F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h 1"/>
                  <a:gd name="T2" fmla="*/ 0 w 20"/>
                  <a:gd name="T3" fmla="*/ 0 h 1"/>
                  <a:gd name="T4" fmla="*/ 10 w 20"/>
                  <a:gd name="T5" fmla="*/ 0 h 1"/>
                  <a:gd name="T6" fmla="*/ 2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7" name="Freeform 157">
                <a:extLst>
                  <a:ext uri="{FF2B5EF4-FFF2-40B4-BE49-F238E27FC236}">
                    <a16:creationId xmlns="" xmlns:a16="http://schemas.microsoft.com/office/drawing/2014/main" id="{6B164EF4-0CDC-2C44-B1FB-22A878141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18" name="Freeform 158">
                <a:extLst>
                  <a:ext uri="{FF2B5EF4-FFF2-40B4-BE49-F238E27FC236}">
                    <a16:creationId xmlns="" xmlns:a16="http://schemas.microsoft.com/office/drawing/2014/main" id="{7C951DAB-EFC8-8543-89B4-EC2FCBD83E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3" name="Freeform 159">
              <a:extLst>
                <a:ext uri="{FF2B5EF4-FFF2-40B4-BE49-F238E27FC236}">
                  <a16:creationId xmlns="" xmlns:a16="http://schemas.microsoft.com/office/drawing/2014/main" id="{1FCFC070-AA5E-0940-AEFB-0AFA28AF7020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160">
              <a:extLst>
                <a:ext uri="{FF2B5EF4-FFF2-40B4-BE49-F238E27FC236}">
                  <a16:creationId xmlns="" xmlns:a16="http://schemas.microsoft.com/office/drawing/2014/main" id="{B1773D86-BA7B-C84C-9E60-13382790B3B5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161">
              <a:extLst>
                <a:ext uri="{FF2B5EF4-FFF2-40B4-BE49-F238E27FC236}">
                  <a16:creationId xmlns="" xmlns:a16="http://schemas.microsoft.com/office/drawing/2014/main" id="{735878D4-FDF5-134F-8D96-530BDD6F36F4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162">
              <a:extLst>
                <a:ext uri="{FF2B5EF4-FFF2-40B4-BE49-F238E27FC236}">
                  <a16:creationId xmlns="" xmlns:a16="http://schemas.microsoft.com/office/drawing/2014/main" id="{CC2BEA25-877C-8E4C-B477-458A51BA3B4F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163">
              <a:extLst>
                <a:ext uri="{FF2B5EF4-FFF2-40B4-BE49-F238E27FC236}">
                  <a16:creationId xmlns="" xmlns:a16="http://schemas.microsoft.com/office/drawing/2014/main" id="{BFFDFC30-1A2B-FC45-8620-C2F0B1C481C4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8" name="Group 164">
              <a:extLst>
                <a:ext uri="{FF2B5EF4-FFF2-40B4-BE49-F238E27FC236}">
                  <a16:creationId xmlns="" xmlns:a16="http://schemas.microsoft.com/office/drawing/2014/main" id="{41CD1801-731E-E340-962B-4E4F4D1DC086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506" name="Freeform 165">
                <a:extLst>
                  <a:ext uri="{FF2B5EF4-FFF2-40B4-BE49-F238E27FC236}">
                    <a16:creationId xmlns="" xmlns:a16="http://schemas.microsoft.com/office/drawing/2014/main" id="{3B27B6EB-7D33-774A-AD16-FD66D90C37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7" name="Freeform 166">
                <a:extLst>
                  <a:ext uri="{FF2B5EF4-FFF2-40B4-BE49-F238E27FC236}">
                    <a16:creationId xmlns="" xmlns:a16="http://schemas.microsoft.com/office/drawing/2014/main" id="{1FD01CC4-AC91-6245-8C56-E5661BFB3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8" name="Freeform 167">
                <a:extLst>
                  <a:ext uri="{FF2B5EF4-FFF2-40B4-BE49-F238E27FC236}">
                    <a16:creationId xmlns="" xmlns:a16="http://schemas.microsoft.com/office/drawing/2014/main" id="{97DEDC00-6087-4243-A167-6A8FD2BD80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9" name="Freeform 168">
                <a:extLst>
                  <a:ext uri="{FF2B5EF4-FFF2-40B4-BE49-F238E27FC236}">
                    <a16:creationId xmlns="" xmlns:a16="http://schemas.microsoft.com/office/drawing/2014/main" id="{8CBEFD21-ACD9-BA49-8AEC-63D7D172F5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9" name="Freeform 169">
              <a:extLst>
                <a:ext uri="{FF2B5EF4-FFF2-40B4-BE49-F238E27FC236}">
                  <a16:creationId xmlns="" xmlns:a16="http://schemas.microsoft.com/office/drawing/2014/main" id="{421660A7-AB8C-104D-852D-30B1EE4D77EA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Freeform 170">
              <a:extLst>
                <a:ext uri="{FF2B5EF4-FFF2-40B4-BE49-F238E27FC236}">
                  <a16:creationId xmlns="" xmlns:a16="http://schemas.microsoft.com/office/drawing/2014/main" id="{708B0B08-9DBA-9F41-AF53-964AA7D3A610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6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Line 171">
              <a:extLst>
                <a:ext uri="{FF2B5EF4-FFF2-40B4-BE49-F238E27FC236}">
                  <a16:creationId xmlns="" xmlns:a16="http://schemas.microsoft.com/office/drawing/2014/main" id="{D33044F0-81E8-404B-BEB6-228072E2E946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172">
              <a:extLst>
                <a:ext uri="{FF2B5EF4-FFF2-40B4-BE49-F238E27FC236}">
                  <a16:creationId xmlns="" xmlns:a16="http://schemas.microsoft.com/office/drawing/2014/main" id="{2320DAA9-060B-3B40-836C-03FBD9ED3817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173">
              <a:extLst>
                <a:ext uri="{FF2B5EF4-FFF2-40B4-BE49-F238E27FC236}">
                  <a16:creationId xmlns="" xmlns:a16="http://schemas.microsoft.com/office/drawing/2014/main" id="{9AB5A0BF-417C-F241-83FB-4000B221B083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174">
              <a:extLst>
                <a:ext uri="{FF2B5EF4-FFF2-40B4-BE49-F238E27FC236}">
                  <a16:creationId xmlns="" xmlns:a16="http://schemas.microsoft.com/office/drawing/2014/main" id="{DF48BC8B-5BF5-924D-A51E-114B07CB1064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Freeform 175">
              <a:extLst>
                <a:ext uri="{FF2B5EF4-FFF2-40B4-BE49-F238E27FC236}">
                  <a16:creationId xmlns="" xmlns:a16="http://schemas.microsoft.com/office/drawing/2014/main" id="{BF02C3FC-33E1-A745-9EFE-AC0F0EE1217F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76">
              <a:extLst>
                <a:ext uri="{FF2B5EF4-FFF2-40B4-BE49-F238E27FC236}">
                  <a16:creationId xmlns="" xmlns:a16="http://schemas.microsoft.com/office/drawing/2014/main" id="{FACD8154-EF82-614F-B1EC-05D63C6B2401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Line 177">
              <a:extLst>
                <a:ext uri="{FF2B5EF4-FFF2-40B4-BE49-F238E27FC236}">
                  <a16:creationId xmlns="" xmlns:a16="http://schemas.microsoft.com/office/drawing/2014/main" id="{EC06FA44-FB35-384B-8D24-5A968736FFB6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Freeform 178">
              <a:extLst>
                <a:ext uri="{FF2B5EF4-FFF2-40B4-BE49-F238E27FC236}">
                  <a16:creationId xmlns="" xmlns:a16="http://schemas.microsoft.com/office/drawing/2014/main" id="{A0FA5A7D-C5DA-EF41-9885-7F6BE33CA170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Line 179">
              <a:extLst>
                <a:ext uri="{FF2B5EF4-FFF2-40B4-BE49-F238E27FC236}">
                  <a16:creationId xmlns="" xmlns:a16="http://schemas.microsoft.com/office/drawing/2014/main" id="{4405FF82-FF11-8846-958C-A61F734DA330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80">
              <a:extLst>
                <a:ext uri="{FF2B5EF4-FFF2-40B4-BE49-F238E27FC236}">
                  <a16:creationId xmlns="" xmlns:a16="http://schemas.microsoft.com/office/drawing/2014/main" id="{61B9BC2A-5A11-DE4A-9209-0CE1882CA552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81">
              <a:extLst>
                <a:ext uri="{FF2B5EF4-FFF2-40B4-BE49-F238E27FC236}">
                  <a16:creationId xmlns="" xmlns:a16="http://schemas.microsoft.com/office/drawing/2014/main" id="{1EF815A9-1EE5-3C4B-8338-8D2D20916DD3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Freeform 182">
              <a:extLst>
                <a:ext uri="{FF2B5EF4-FFF2-40B4-BE49-F238E27FC236}">
                  <a16:creationId xmlns="" xmlns:a16="http://schemas.microsoft.com/office/drawing/2014/main" id="{A016C75B-C254-714C-8C45-7C085388D4BD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183">
              <a:extLst>
                <a:ext uri="{FF2B5EF4-FFF2-40B4-BE49-F238E27FC236}">
                  <a16:creationId xmlns="" xmlns:a16="http://schemas.microsoft.com/office/drawing/2014/main" id="{4435DC81-2823-9B46-AA75-5AB74B56E493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13 h 43"/>
                <a:gd name="T4" fmla="*/ 0 w 1587"/>
                <a:gd name="T5" fmla="*/ 26 h 43"/>
                <a:gd name="T6" fmla="*/ 0 w 1587"/>
                <a:gd name="T7" fmla="*/ 37 h 43"/>
                <a:gd name="T8" fmla="*/ 0 w 1587"/>
                <a:gd name="T9" fmla="*/ 43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Line 184">
              <a:extLst>
                <a:ext uri="{FF2B5EF4-FFF2-40B4-BE49-F238E27FC236}">
                  <a16:creationId xmlns="" xmlns:a16="http://schemas.microsoft.com/office/drawing/2014/main" id="{6A2CE896-84AD-0D46-AECA-9D58E8145DB5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Freeform 185">
              <a:extLst>
                <a:ext uri="{FF2B5EF4-FFF2-40B4-BE49-F238E27FC236}">
                  <a16:creationId xmlns="" xmlns:a16="http://schemas.microsoft.com/office/drawing/2014/main" id="{89A1BEF7-582F-0544-821C-F23DD3CFAF1C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31 h 31"/>
                <a:gd name="T2" fmla="*/ 0 w 1587"/>
                <a:gd name="T3" fmla="*/ 22 h 31"/>
                <a:gd name="T4" fmla="*/ 0 w 1587"/>
                <a:gd name="T5" fmla="*/ 15 h 31"/>
                <a:gd name="T6" fmla="*/ 0 w 1587"/>
                <a:gd name="T7" fmla="*/ 8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186">
              <a:extLst>
                <a:ext uri="{FF2B5EF4-FFF2-40B4-BE49-F238E27FC236}">
                  <a16:creationId xmlns="" xmlns:a16="http://schemas.microsoft.com/office/drawing/2014/main" id="{69949402-4B72-CD42-81FF-A6ABB881A459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87">
              <a:extLst>
                <a:ext uri="{FF2B5EF4-FFF2-40B4-BE49-F238E27FC236}">
                  <a16:creationId xmlns="" xmlns:a16="http://schemas.microsoft.com/office/drawing/2014/main" id="{A94AF74A-84FA-C546-9C6C-56D06D1D852F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88">
              <a:extLst>
                <a:ext uri="{FF2B5EF4-FFF2-40B4-BE49-F238E27FC236}">
                  <a16:creationId xmlns="" xmlns:a16="http://schemas.microsoft.com/office/drawing/2014/main" id="{B355C170-A841-E34A-B8CA-666A10C369A7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89">
              <a:extLst>
                <a:ext uri="{FF2B5EF4-FFF2-40B4-BE49-F238E27FC236}">
                  <a16:creationId xmlns="" xmlns:a16="http://schemas.microsoft.com/office/drawing/2014/main" id="{50886262-20B7-8241-88C8-A178461A6B1A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90">
              <a:extLst>
                <a:ext uri="{FF2B5EF4-FFF2-40B4-BE49-F238E27FC236}">
                  <a16:creationId xmlns="" xmlns:a16="http://schemas.microsoft.com/office/drawing/2014/main" id="{470BD3AB-E687-DC4D-8995-188B5C2FE58C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91">
              <a:extLst>
                <a:ext uri="{FF2B5EF4-FFF2-40B4-BE49-F238E27FC236}">
                  <a16:creationId xmlns="" xmlns:a16="http://schemas.microsoft.com/office/drawing/2014/main" id="{3BB6B0BB-0A2E-BF40-A0D2-1FDB7C8A0DBF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92">
              <a:extLst>
                <a:ext uri="{FF2B5EF4-FFF2-40B4-BE49-F238E27FC236}">
                  <a16:creationId xmlns="" xmlns:a16="http://schemas.microsoft.com/office/drawing/2014/main" id="{CDC16119-9561-6948-85F9-D93FBFC65C3B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193">
              <a:extLst>
                <a:ext uri="{FF2B5EF4-FFF2-40B4-BE49-F238E27FC236}">
                  <a16:creationId xmlns="" xmlns:a16="http://schemas.microsoft.com/office/drawing/2014/main" id="{5B914172-6BDC-4248-9CA0-6F675DACF4A7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194">
              <a:extLst>
                <a:ext uri="{FF2B5EF4-FFF2-40B4-BE49-F238E27FC236}">
                  <a16:creationId xmlns="" xmlns:a16="http://schemas.microsoft.com/office/drawing/2014/main" id="{D2944E55-72AF-F246-9C37-7B6C83FDB687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195">
              <a:extLst>
                <a:ext uri="{FF2B5EF4-FFF2-40B4-BE49-F238E27FC236}">
                  <a16:creationId xmlns="" xmlns:a16="http://schemas.microsoft.com/office/drawing/2014/main" id="{050557E7-EAD7-CD41-9535-1B6A16578DC1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196">
              <a:extLst>
                <a:ext uri="{FF2B5EF4-FFF2-40B4-BE49-F238E27FC236}">
                  <a16:creationId xmlns="" xmlns:a16="http://schemas.microsoft.com/office/drawing/2014/main" id="{70BA9085-B4A5-8E4D-8A5D-002B77E1D8E4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197">
              <a:extLst>
                <a:ext uri="{FF2B5EF4-FFF2-40B4-BE49-F238E27FC236}">
                  <a16:creationId xmlns="" xmlns:a16="http://schemas.microsoft.com/office/drawing/2014/main" id="{45575A31-3101-0C4D-B8DD-313A3BA6C8AD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198">
              <a:extLst>
                <a:ext uri="{FF2B5EF4-FFF2-40B4-BE49-F238E27FC236}">
                  <a16:creationId xmlns="" xmlns:a16="http://schemas.microsoft.com/office/drawing/2014/main" id="{2A665535-FCBF-8B44-A9C9-7389D958712B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199">
              <a:extLst>
                <a:ext uri="{FF2B5EF4-FFF2-40B4-BE49-F238E27FC236}">
                  <a16:creationId xmlns="" xmlns:a16="http://schemas.microsoft.com/office/drawing/2014/main" id="{B14EA2BA-AB5B-FA49-AA6B-22B6D6F9E13D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Freeform 200">
              <a:extLst>
                <a:ext uri="{FF2B5EF4-FFF2-40B4-BE49-F238E27FC236}">
                  <a16:creationId xmlns="" xmlns:a16="http://schemas.microsoft.com/office/drawing/2014/main" id="{289ECAED-D341-0B4D-981A-DA40C8456F0A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201">
              <a:extLst>
                <a:ext uri="{FF2B5EF4-FFF2-40B4-BE49-F238E27FC236}">
                  <a16:creationId xmlns="" xmlns:a16="http://schemas.microsoft.com/office/drawing/2014/main" id="{2C6FD077-84C6-1C45-B06A-4ABE7F515831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202">
              <a:extLst>
                <a:ext uri="{FF2B5EF4-FFF2-40B4-BE49-F238E27FC236}">
                  <a16:creationId xmlns="" xmlns:a16="http://schemas.microsoft.com/office/drawing/2014/main" id="{2EBACE44-A926-BA44-929B-60C5A20C80A0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203">
              <a:extLst>
                <a:ext uri="{FF2B5EF4-FFF2-40B4-BE49-F238E27FC236}">
                  <a16:creationId xmlns="" xmlns:a16="http://schemas.microsoft.com/office/drawing/2014/main" id="{D657B06C-8C7A-5541-855D-3226ADEA36BD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204">
              <a:extLst>
                <a:ext uri="{FF2B5EF4-FFF2-40B4-BE49-F238E27FC236}">
                  <a16:creationId xmlns="" xmlns:a16="http://schemas.microsoft.com/office/drawing/2014/main" id="{C7F38CB3-1FBF-2F47-B46B-32FB3C65DA79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205">
              <a:extLst>
                <a:ext uri="{FF2B5EF4-FFF2-40B4-BE49-F238E27FC236}">
                  <a16:creationId xmlns="" xmlns:a16="http://schemas.microsoft.com/office/drawing/2014/main" id="{F449F32C-6B3A-7F4D-8E47-B543A0B54267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Freeform 206">
              <a:extLst>
                <a:ext uri="{FF2B5EF4-FFF2-40B4-BE49-F238E27FC236}">
                  <a16:creationId xmlns="" xmlns:a16="http://schemas.microsoft.com/office/drawing/2014/main" id="{FCBC53AB-A655-6F46-BFD8-F68A357D3278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Freeform 207">
              <a:extLst>
                <a:ext uri="{FF2B5EF4-FFF2-40B4-BE49-F238E27FC236}">
                  <a16:creationId xmlns="" xmlns:a16="http://schemas.microsoft.com/office/drawing/2014/main" id="{2A72B4E9-9320-5441-8E2A-93CBD4BDD2F7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208">
              <a:extLst>
                <a:ext uri="{FF2B5EF4-FFF2-40B4-BE49-F238E27FC236}">
                  <a16:creationId xmlns="" xmlns:a16="http://schemas.microsoft.com/office/drawing/2014/main" id="{0F831D2D-54A7-2044-A246-12A0B8630463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209">
              <a:extLst>
                <a:ext uri="{FF2B5EF4-FFF2-40B4-BE49-F238E27FC236}">
                  <a16:creationId xmlns="" xmlns:a16="http://schemas.microsoft.com/office/drawing/2014/main" id="{A7B665AB-58E2-4E4F-B4F9-80F29B5D1469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210">
              <a:extLst>
                <a:ext uri="{FF2B5EF4-FFF2-40B4-BE49-F238E27FC236}">
                  <a16:creationId xmlns="" xmlns:a16="http://schemas.microsoft.com/office/drawing/2014/main" id="{26657DF2-EEE7-9A40-9527-26B9D83338B7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211">
              <a:extLst>
                <a:ext uri="{FF2B5EF4-FFF2-40B4-BE49-F238E27FC236}">
                  <a16:creationId xmlns="" xmlns:a16="http://schemas.microsoft.com/office/drawing/2014/main" id="{BF26FBFC-1E74-944D-8955-14D50A0F0B99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212">
              <a:extLst>
                <a:ext uri="{FF2B5EF4-FFF2-40B4-BE49-F238E27FC236}">
                  <a16:creationId xmlns="" xmlns:a16="http://schemas.microsoft.com/office/drawing/2014/main" id="{C615C58D-86FB-0746-90B8-6236C5B36136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213">
              <a:extLst>
                <a:ext uri="{FF2B5EF4-FFF2-40B4-BE49-F238E27FC236}">
                  <a16:creationId xmlns="" xmlns:a16="http://schemas.microsoft.com/office/drawing/2014/main" id="{96428B89-B394-7F46-9C8E-17D1B35AD45D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214">
              <a:extLst>
                <a:ext uri="{FF2B5EF4-FFF2-40B4-BE49-F238E27FC236}">
                  <a16:creationId xmlns="" xmlns:a16="http://schemas.microsoft.com/office/drawing/2014/main" id="{3787C825-200D-D24F-9903-E43045D2F9CE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215">
              <a:extLst>
                <a:ext uri="{FF2B5EF4-FFF2-40B4-BE49-F238E27FC236}">
                  <a16:creationId xmlns="" xmlns:a16="http://schemas.microsoft.com/office/drawing/2014/main" id="{E3BA8E64-8E44-544F-92C5-408AD1D4FAEA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6" name="Freeform 216">
              <a:extLst>
                <a:ext uri="{FF2B5EF4-FFF2-40B4-BE49-F238E27FC236}">
                  <a16:creationId xmlns="" xmlns:a16="http://schemas.microsoft.com/office/drawing/2014/main" id="{19CAB430-E696-4348-8813-1C4A309E19A4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7" name="Freeform 217">
              <a:extLst>
                <a:ext uri="{FF2B5EF4-FFF2-40B4-BE49-F238E27FC236}">
                  <a16:creationId xmlns="" xmlns:a16="http://schemas.microsoft.com/office/drawing/2014/main" id="{7684FFD5-A1AC-6D43-81BD-4B860A7A1C01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8" name="Freeform 218">
              <a:extLst>
                <a:ext uri="{FF2B5EF4-FFF2-40B4-BE49-F238E27FC236}">
                  <a16:creationId xmlns="" xmlns:a16="http://schemas.microsoft.com/office/drawing/2014/main" id="{5483D8C7-E7B6-CC46-B7C6-3367FED641F5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9" name="Freeform 219">
              <a:extLst>
                <a:ext uri="{FF2B5EF4-FFF2-40B4-BE49-F238E27FC236}">
                  <a16:creationId xmlns="" xmlns:a16="http://schemas.microsoft.com/office/drawing/2014/main" id="{DF0F4DDF-B8AB-3341-B225-70C032F33197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0" name="Freeform 220">
              <a:extLst>
                <a:ext uri="{FF2B5EF4-FFF2-40B4-BE49-F238E27FC236}">
                  <a16:creationId xmlns="" xmlns:a16="http://schemas.microsoft.com/office/drawing/2014/main" id="{CBA69C4D-49A4-FF49-8AF8-0852EBFFCA58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1" name="Freeform 221">
              <a:extLst>
                <a:ext uri="{FF2B5EF4-FFF2-40B4-BE49-F238E27FC236}">
                  <a16:creationId xmlns="" xmlns:a16="http://schemas.microsoft.com/office/drawing/2014/main" id="{685B05D5-74B9-4E4F-9894-7538F0C5E4E3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Freeform 222">
              <a:extLst>
                <a:ext uri="{FF2B5EF4-FFF2-40B4-BE49-F238E27FC236}">
                  <a16:creationId xmlns="" xmlns:a16="http://schemas.microsoft.com/office/drawing/2014/main" id="{64DEBE8F-CF06-CF4E-943D-68A23B000D17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223">
              <a:extLst>
                <a:ext uri="{FF2B5EF4-FFF2-40B4-BE49-F238E27FC236}">
                  <a16:creationId xmlns="" xmlns:a16="http://schemas.microsoft.com/office/drawing/2014/main" id="{0FFB832E-7A47-A24A-BD91-56E20F77274E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224">
              <a:extLst>
                <a:ext uri="{FF2B5EF4-FFF2-40B4-BE49-F238E27FC236}">
                  <a16:creationId xmlns="" xmlns:a16="http://schemas.microsoft.com/office/drawing/2014/main" id="{DFD9575F-F655-7240-B99B-596D15024FDA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225">
              <a:extLst>
                <a:ext uri="{FF2B5EF4-FFF2-40B4-BE49-F238E27FC236}">
                  <a16:creationId xmlns="" xmlns:a16="http://schemas.microsoft.com/office/drawing/2014/main" id="{928035F2-7C3B-BA4C-BE80-E1824003172F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6" name="Freeform 226">
              <a:extLst>
                <a:ext uri="{FF2B5EF4-FFF2-40B4-BE49-F238E27FC236}">
                  <a16:creationId xmlns="" xmlns:a16="http://schemas.microsoft.com/office/drawing/2014/main" id="{127A3D34-49C4-A34B-B91E-C30E7CBF4EFF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7" name="Freeform 227">
              <a:extLst>
                <a:ext uri="{FF2B5EF4-FFF2-40B4-BE49-F238E27FC236}">
                  <a16:creationId xmlns="" xmlns:a16="http://schemas.microsoft.com/office/drawing/2014/main" id="{28F46A94-FC90-B046-99AE-020C647304EB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8" name="Freeform 228">
              <a:extLst>
                <a:ext uri="{FF2B5EF4-FFF2-40B4-BE49-F238E27FC236}">
                  <a16:creationId xmlns="" xmlns:a16="http://schemas.microsoft.com/office/drawing/2014/main" id="{E39AD131-2606-6A4D-B2A0-84D70E19D4CA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9" name="Freeform 229">
              <a:extLst>
                <a:ext uri="{FF2B5EF4-FFF2-40B4-BE49-F238E27FC236}">
                  <a16:creationId xmlns="" xmlns:a16="http://schemas.microsoft.com/office/drawing/2014/main" id="{9E865DFE-20C8-304C-B7FD-0688FF9BFC77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0" name="Freeform 230">
              <a:extLst>
                <a:ext uri="{FF2B5EF4-FFF2-40B4-BE49-F238E27FC236}">
                  <a16:creationId xmlns="" xmlns:a16="http://schemas.microsoft.com/office/drawing/2014/main" id="{9C6D744B-2AD6-E347-B94A-4EF998E24802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1" name="Freeform 231">
              <a:extLst>
                <a:ext uri="{FF2B5EF4-FFF2-40B4-BE49-F238E27FC236}">
                  <a16:creationId xmlns="" xmlns:a16="http://schemas.microsoft.com/office/drawing/2014/main" id="{D24C67C6-FC12-C945-91DC-D2B465F2385B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2" name="Freeform 232">
              <a:extLst>
                <a:ext uri="{FF2B5EF4-FFF2-40B4-BE49-F238E27FC236}">
                  <a16:creationId xmlns="" xmlns:a16="http://schemas.microsoft.com/office/drawing/2014/main" id="{438D8378-291B-9544-9F0D-CAF26A7B6B24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3" name="Freeform 233">
              <a:extLst>
                <a:ext uri="{FF2B5EF4-FFF2-40B4-BE49-F238E27FC236}">
                  <a16:creationId xmlns="" xmlns:a16="http://schemas.microsoft.com/office/drawing/2014/main" id="{3EA8DB82-77E5-744B-BBD3-EFA8801B431A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" name="Freeform 234">
              <a:extLst>
                <a:ext uri="{FF2B5EF4-FFF2-40B4-BE49-F238E27FC236}">
                  <a16:creationId xmlns="" xmlns:a16="http://schemas.microsoft.com/office/drawing/2014/main" id="{CB89B7B1-C0C9-8E41-9EE3-E44E9A56CC3E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" name="Freeform 235">
              <a:extLst>
                <a:ext uri="{FF2B5EF4-FFF2-40B4-BE49-F238E27FC236}">
                  <a16:creationId xmlns="" xmlns:a16="http://schemas.microsoft.com/office/drawing/2014/main" id="{8AB90BDC-CA50-D146-9EFD-BF2533CFDE60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6" name="Freeform 236">
              <a:extLst>
                <a:ext uri="{FF2B5EF4-FFF2-40B4-BE49-F238E27FC236}">
                  <a16:creationId xmlns="" xmlns:a16="http://schemas.microsoft.com/office/drawing/2014/main" id="{C9E06DEE-A682-5048-8514-DE99DD558775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7" name="Freeform 237">
              <a:extLst>
                <a:ext uri="{FF2B5EF4-FFF2-40B4-BE49-F238E27FC236}">
                  <a16:creationId xmlns="" xmlns:a16="http://schemas.microsoft.com/office/drawing/2014/main" id="{A69F525B-1068-FF46-9539-B987D2862432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8" name="Freeform 238">
              <a:extLst>
                <a:ext uri="{FF2B5EF4-FFF2-40B4-BE49-F238E27FC236}">
                  <a16:creationId xmlns="" xmlns:a16="http://schemas.microsoft.com/office/drawing/2014/main" id="{B41AF7EA-3614-E84A-BA1E-8B9B090430FC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9" name="Freeform 239">
              <a:extLst>
                <a:ext uri="{FF2B5EF4-FFF2-40B4-BE49-F238E27FC236}">
                  <a16:creationId xmlns="" xmlns:a16="http://schemas.microsoft.com/office/drawing/2014/main" id="{3AA71562-88E1-AB43-B300-B9922267684B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0" name="Freeform 240">
              <a:extLst>
                <a:ext uri="{FF2B5EF4-FFF2-40B4-BE49-F238E27FC236}">
                  <a16:creationId xmlns="" xmlns:a16="http://schemas.microsoft.com/office/drawing/2014/main" id="{91E4F0C0-AEC9-C54C-96C6-B593F0F2530B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241">
              <a:extLst>
                <a:ext uri="{FF2B5EF4-FFF2-40B4-BE49-F238E27FC236}">
                  <a16:creationId xmlns="" xmlns:a16="http://schemas.microsoft.com/office/drawing/2014/main" id="{940051CA-29C6-7E42-BFE3-BD9EB1EB4433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242">
              <a:extLst>
                <a:ext uri="{FF2B5EF4-FFF2-40B4-BE49-F238E27FC236}">
                  <a16:creationId xmlns="" xmlns:a16="http://schemas.microsoft.com/office/drawing/2014/main" id="{2F22256C-191A-AD42-9218-B4B1F3C85008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243">
              <a:extLst>
                <a:ext uri="{FF2B5EF4-FFF2-40B4-BE49-F238E27FC236}">
                  <a16:creationId xmlns="" xmlns:a16="http://schemas.microsoft.com/office/drawing/2014/main" id="{B72162B9-A5BE-D246-9494-D5CD5F79509A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244">
              <a:extLst>
                <a:ext uri="{FF2B5EF4-FFF2-40B4-BE49-F238E27FC236}">
                  <a16:creationId xmlns="" xmlns:a16="http://schemas.microsoft.com/office/drawing/2014/main" id="{070B3791-080D-FA4D-8498-DE5BBA561A45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5" name="Freeform 245">
              <a:extLst>
                <a:ext uri="{FF2B5EF4-FFF2-40B4-BE49-F238E27FC236}">
                  <a16:creationId xmlns="" xmlns:a16="http://schemas.microsoft.com/office/drawing/2014/main" id="{46EC445A-3F2F-7947-935B-244193038BC3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6" name="Freeform 246">
              <a:extLst>
                <a:ext uri="{FF2B5EF4-FFF2-40B4-BE49-F238E27FC236}">
                  <a16:creationId xmlns="" xmlns:a16="http://schemas.microsoft.com/office/drawing/2014/main" id="{835F3045-4461-0148-BA0E-03BF5FE22112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7" name="Freeform 247">
              <a:extLst>
                <a:ext uri="{FF2B5EF4-FFF2-40B4-BE49-F238E27FC236}">
                  <a16:creationId xmlns="" xmlns:a16="http://schemas.microsoft.com/office/drawing/2014/main" id="{B25ED34B-9304-6645-BB8C-9ADAC0365F86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8" name="Freeform 248">
              <a:extLst>
                <a:ext uri="{FF2B5EF4-FFF2-40B4-BE49-F238E27FC236}">
                  <a16:creationId xmlns="" xmlns:a16="http://schemas.microsoft.com/office/drawing/2014/main" id="{8AD21F70-6229-CB4D-87BC-8488CF2393AF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9" name="Freeform 249">
              <a:extLst>
                <a:ext uri="{FF2B5EF4-FFF2-40B4-BE49-F238E27FC236}">
                  <a16:creationId xmlns="" xmlns:a16="http://schemas.microsoft.com/office/drawing/2014/main" id="{878DF12E-8E9F-5F4B-81F7-EFCBB145BDE6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0" name="Freeform 250">
              <a:extLst>
                <a:ext uri="{FF2B5EF4-FFF2-40B4-BE49-F238E27FC236}">
                  <a16:creationId xmlns="" xmlns:a16="http://schemas.microsoft.com/office/drawing/2014/main" id="{8410E59E-202E-8D43-9BAF-39CA5012E40A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251">
              <a:extLst>
                <a:ext uri="{FF2B5EF4-FFF2-40B4-BE49-F238E27FC236}">
                  <a16:creationId xmlns="" xmlns:a16="http://schemas.microsoft.com/office/drawing/2014/main" id="{D4127CEF-2AC3-2A4D-BD25-4F7B796F7486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Freeform 252">
              <a:extLst>
                <a:ext uri="{FF2B5EF4-FFF2-40B4-BE49-F238E27FC236}">
                  <a16:creationId xmlns="" xmlns:a16="http://schemas.microsoft.com/office/drawing/2014/main" id="{2B792371-04FD-B44A-B5EA-9C902AADC57F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253">
              <a:extLst>
                <a:ext uri="{FF2B5EF4-FFF2-40B4-BE49-F238E27FC236}">
                  <a16:creationId xmlns="" xmlns:a16="http://schemas.microsoft.com/office/drawing/2014/main" id="{1F42181C-B3D0-5F4A-AA59-F3E70B118B2C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254">
              <a:extLst>
                <a:ext uri="{FF2B5EF4-FFF2-40B4-BE49-F238E27FC236}">
                  <a16:creationId xmlns="" xmlns:a16="http://schemas.microsoft.com/office/drawing/2014/main" id="{F5AEDBF3-DAEB-D04F-BB94-64E69752071F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255">
              <a:extLst>
                <a:ext uri="{FF2B5EF4-FFF2-40B4-BE49-F238E27FC236}">
                  <a16:creationId xmlns="" xmlns:a16="http://schemas.microsoft.com/office/drawing/2014/main" id="{84E61897-7C50-5445-B09E-C0E904E8EA1D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256">
              <a:extLst>
                <a:ext uri="{FF2B5EF4-FFF2-40B4-BE49-F238E27FC236}">
                  <a16:creationId xmlns="" xmlns:a16="http://schemas.microsoft.com/office/drawing/2014/main" id="{0B7E59F0-87AC-3548-AAA2-A9752E384677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257">
              <a:extLst>
                <a:ext uri="{FF2B5EF4-FFF2-40B4-BE49-F238E27FC236}">
                  <a16:creationId xmlns="" xmlns:a16="http://schemas.microsoft.com/office/drawing/2014/main" id="{94C88055-0E13-A04A-91E4-BB13C9E111E8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Freeform 258">
              <a:extLst>
                <a:ext uri="{FF2B5EF4-FFF2-40B4-BE49-F238E27FC236}">
                  <a16:creationId xmlns="" xmlns:a16="http://schemas.microsoft.com/office/drawing/2014/main" id="{DC355F45-6807-B940-B98E-95ED7967E210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259">
              <a:extLst>
                <a:ext uri="{FF2B5EF4-FFF2-40B4-BE49-F238E27FC236}">
                  <a16:creationId xmlns="" xmlns:a16="http://schemas.microsoft.com/office/drawing/2014/main" id="{40168F5E-2A08-684F-BC2E-0458B03ED8F4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Freeform 260">
              <a:extLst>
                <a:ext uri="{FF2B5EF4-FFF2-40B4-BE49-F238E27FC236}">
                  <a16:creationId xmlns="" xmlns:a16="http://schemas.microsoft.com/office/drawing/2014/main" id="{0BA4829C-7516-6E49-8624-D4CCD0BEF3CB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261">
              <a:extLst>
                <a:ext uri="{FF2B5EF4-FFF2-40B4-BE49-F238E27FC236}">
                  <a16:creationId xmlns="" xmlns:a16="http://schemas.microsoft.com/office/drawing/2014/main" id="{63A28492-9722-9D41-A824-1A70D23202D7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262">
              <a:extLst>
                <a:ext uri="{FF2B5EF4-FFF2-40B4-BE49-F238E27FC236}">
                  <a16:creationId xmlns="" xmlns:a16="http://schemas.microsoft.com/office/drawing/2014/main" id="{AAA01CE9-691A-D844-9D97-227669C61737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263">
              <a:extLst>
                <a:ext uri="{FF2B5EF4-FFF2-40B4-BE49-F238E27FC236}">
                  <a16:creationId xmlns="" xmlns:a16="http://schemas.microsoft.com/office/drawing/2014/main" id="{C4549064-8BF7-AE4E-A23F-10BDD0144197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264">
              <a:extLst>
                <a:ext uri="{FF2B5EF4-FFF2-40B4-BE49-F238E27FC236}">
                  <a16:creationId xmlns="" xmlns:a16="http://schemas.microsoft.com/office/drawing/2014/main" id="{55325EBE-4AC8-D34B-B81E-11153003C891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Freeform 265">
              <a:extLst>
                <a:ext uri="{FF2B5EF4-FFF2-40B4-BE49-F238E27FC236}">
                  <a16:creationId xmlns="" xmlns:a16="http://schemas.microsoft.com/office/drawing/2014/main" id="{5C56AE7A-7FCB-F04A-896F-F882A60B4381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266">
              <a:extLst>
                <a:ext uri="{FF2B5EF4-FFF2-40B4-BE49-F238E27FC236}">
                  <a16:creationId xmlns="" xmlns:a16="http://schemas.microsoft.com/office/drawing/2014/main" id="{27D2EF57-0392-9A48-9FBF-79896D40B5C1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267">
              <a:extLst>
                <a:ext uri="{FF2B5EF4-FFF2-40B4-BE49-F238E27FC236}">
                  <a16:creationId xmlns="" xmlns:a16="http://schemas.microsoft.com/office/drawing/2014/main" id="{C487BEB2-7B14-6C49-BBE2-349263FC6CBF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268">
              <a:extLst>
                <a:ext uri="{FF2B5EF4-FFF2-40B4-BE49-F238E27FC236}">
                  <a16:creationId xmlns="" xmlns:a16="http://schemas.microsoft.com/office/drawing/2014/main" id="{7A434C94-C4A2-EF41-89C7-932A60C21E37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269">
              <a:extLst>
                <a:ext uri="{FF2B5EF4-FFF2-40B4-BE49-F238E27FC236}">
                  <a16:creationId xmlns="" xmlns:a16="http://schemas.microsoft.com/office/drawing/2014/main" id="{5AD0C8EB-9FC4-A84C-9A78-DD5550A3DA21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270">
              <a:extLst>
                <a:ext uri="{FF2B5EF4-FFF2-40B4-BE49-F238E27FC236}">
                  <a16:creationId xmlns="" xmlns:a16="http://schemas.microsoft.com/office/drawing/2014/main" id="{ABF38D77-3D95-0147-B555-AD372E6A5877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271">
              <a:extLst>
                <a:ext uri="{FF2B5EF4-FFF2-40B4-BE49-F238E27FC236}">
                  <a16:creationId xmlns="" xmlns:a16="http://schemas.microsoft.com/office/drawing/2014/main" id="{89E1ABDB-A4E4-5443-B09A-00F1CD2BD691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272">
              <a:extLst>
                <a:ext uri="{FF2B5EF4-FFF2-40B4-BE49-F238E27FC236}">
                  <a16:creationId xmlns="" xmlns:a16="http://schemas.microsoft.com/office/drawing/2014/main" id="{201AE1F0-A3F2-0F4B-9274-BE67FBFAF7CE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273">
              <a:extLst>
                <a:ext uri="{FF2B5EF4-FFF2-40B4-BE49-F238E27FC236}">
                  <a16:creationId xmlns="" xmlns:a16="http://schemas.microsoft.com/office/drawing/2014/main" id="{BE12B271-8368-1649-88F4-D2E3261E7431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274">
              <a:extLst>
                <a:ext uri="{FF2B5EF4-FFF2-40B4-BE49-F238E27FC236}">
                  <a16:creationId xmlns="" xmlns:a16="http://schemas.microsoft.com/office/drawing/2014/main" id="{2B2305BB-6081-9647-9A67-B17A9B74AB4F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5" name="Freeform 275">
              <a:extLst>
                <a:ext uri="{FF2B5EF4-FFF2-40B4-BE49-F238E27FC236}">
                  <a16:creationId xmlns="" xmlns:a16="http://schemas.microsoft.com/office/drawing/2014/main" id="{89C7F0E7-7F55-2140-A931-836E93694891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Freeform 276">
              <a:extLst>
                <a:ext uri="{FF2B5EF4-FFF2-40B4-BE49-F238E27FC236}">
                  <a16:creationId xmlns="" xmlns:a16="http://schemas.microsoft.com/office/drawing/2014/main" id="{9AB77712-DD8B-2546-9783-FC0E5221F386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277">
              <a:extLst>
                <a:ext uri="{FF2B5EF4-FFF2-40B4-BE49-F238E27FC236}">
                  <a16:creationId xmlns="" xmlns:a16="http://schemas.microsoft.com/office/drawing/2014/main" id="{28451D3A-FDBE-6C4D-8E6D-3863E978B0E0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278">
              <a:extLst>
                <a:ext uri="{FF2B5EF4-FFF2-40B4-BE49-F238E27FC236}">
                  <a16:creationId xmlns="" xmlns:a16="http://schemas.microsoft.com/office/drawing/2014/main" id="{4D65337E-A32E-314C-8645-19ADB0104BD1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279">
              <a:extLst>
                <a:ext uri="{FF2B5EF4-FFF2-40B4-BE49-F238E27FC236}">
                  <a16:creationId xmlns="" xmlns:a16="http://schemas.microsoft.com/office/drawing/2014/main" id="{2124ACD6-500C-174B-8766-F9172CE87D22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280">
              <a:extLst>
                <a:ext uri="{FF2B5EF4-FFF2-40B4-BE49-F238E27FC236}">
                  <a16:creationId xmlns="" xmlns:a16="http://schemas.microsoft.com/office/drawing/2014/main" id="{39B1864D-D74E-F947-B36C-ADA4793E1A2F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281">
              <a:extLst>
                <a:ext uri="{FF2B5EF4-FFF2-40B4-BE49-F238E27FC236}">
                  <a16:creationId xmlns="" xmlns:a16="http://schemas.microsoft.com/office/drawing/2014/main" id="{4578466F-D26D-2A47-AAE6-4A70FBC6E501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22" name="Group 282">
              <a:extLst>
                <a:ext uri="{FF2B5EF4-FFF2-40B4-BE49-F238E27FC236}">
                  <a16:creationId xmlns="" xmlns:a16="http://schemas.microsoft.com/office/drawing/2014/main" id="{5C934063-98F1-8E4F-A7F6-AA0D2FCBC5F1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482" name="Freeform 283">
                <a:extLst>
                  <a:ext uri="{FF2B5EF4-FFF2-40B4-BE49-F238E27FC236}">
                    <a16:creationId xmlns="" xmlns:a16="http://schemas.microsoft.com/office/drawing/2014/main" id="{6B5AFB88-3FED-D349-8E7B-8BB8EA6D8D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3" name="Freeform 284">
                <a:extLst>
                  <a:ext uri="{FF2B5EF4-FFF2-40B4-BE49-F238E27FC236}">
                    <a16:creationId xmlns="" xmlns:a16="http://schemas.microsoft.com/office/drawing/2014/main" id="{BB5F8C21-7B90-D74A-AD2D-8222CF2CD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4" name="Freeform 285">
                <a:extLst>
                  <a:ext uri="{FF2B5EF4-FFF2-40B4-BE49-F238E27FC236}">
                    <a16:creationId xmlns="" xmlns:a16="http://schemas.microsoft.com/office/drawing/2014/main" id="{2692C1C2-0ECD-9748-89C6-88279DC5DE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5" name="Freeform 286">
                <a:extLst>
                  <a:ext uri="{FF2B5EF4-FFF2-40B4-BE49-F238E27FC236}">
                    <a16:creationId xmlns="" xmlns:a16="http://schemas.microsoft.com/office/drawing/2014/main" id="{86EB6D97-5CE5-AF4E-A8D9-73BF108EF1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6" name="Freeform 287">
                <a:extLst>
                  <a:ext uri="{FF2B5EF4-FFF2-40B4-BE49-F238E27FC236}">
                    <a16:creationId xmlns="" xmlns:a16="http://schemas.microsoft.com/office/drawing/2014/main" id="{1240B9C3-55B5-A641-A19C-7BF690B233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7" name="Freeform 288">
                <a:extLst>
                  <a:ext uri="{FF2B5EF4-FFF2-40B4-BE49-F238E27FC236}">
                    <a16:creationId xmlns="" xmlns:a16="http://schemas.microsoft.com/office/drawing/2014/main" id="{CB2441E1-A8F8-5040-BAD7-DC88E8B286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8" name="Freeform 289">
                <a:extLst>
                  <a:ext uri="{FF2B5EF4-FFF2-40B4-BE49-F238E27FC236}">
                    <a16:creationId xmlns="" xmlns:a16="http://schemas.microsoft.com/office/drawing/2014/main" id="{355A394A-7324-D342-9194-49A64343E7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9" name="Freeform 290">
                <a:extLst>
                  <a:ext uri="{FF2B5EF4-FFF2-40B4-BE49-F238E27FC236}">
                    <a16:creationId xmlns="" xmlns:a16="http://schemas.microsoft.com/office/drawing/2014/main" id="{638802D9-61B4-5946-A4E6-AEF17D21AA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0" name="Freeform 291">
                <a:extLst>
                  <a:ext uri="{FF2B5EF4-FFF2-40B4-BE49-F238E27FC236}">
                    <a16:creationId xmlns="" xmlns:a16="http://schemas.microsoft.com/office/drawing/2014/main" id="{3F3427A1-EEF5-FF4E-9E8B-F348D549B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1" name="Freeform 292">
                <a:extLst>
                  <a:ext uri="{FF2B5EF4-FFF2-40B4-BE49-F238E27FC236}">
                    <a16:creationId xmlns="" xmlns:a16="http://schemas.microsoft.com/office/drawing/2014/main" id="{4B8A497C-BE5D-8A49-8EF6-B19A8614A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2" name="Freeform 293">
                <a:extLst>
                  <a:ext uri="{FF2B5EF4-FFF2-40B4-BE49-F238E27FC236}">
                    <a16:creationId xmlns="" xmlns:a16="http://schemas.microsoft.com/office/drawing/2014/main" id="{6BD01D89-6184-CA4C-B803-50BC776E2B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3" name="Freeform 294">
                <a:extLst>
                  <a:ext uri="{FF2B5EF4-FFF2-40B4-BE49-F238E27FC236}">
                    <a16:creationId xmlns="" xmlns:a16="http://schemas.microsoft.com/office/drawing/2014/main" id="{E01FD404-7120-D545-A531-77490F26FC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4" name="Freeform 295">
                <a:extLst>
                  <a:ext uri="{FF2B5EF4-FFF2-40B4-BE49-F238E27FC236}">
                    <a16:creationId xmlns="" xmlns:a16="http://schemas.microsoft.com/office/drawing/2014/main" id="{D94B2BB5-D013-FA44-ABCF-9460CD9446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5" name="Freeform 296">
                <a:extLst>
                  <a:ext uri="{FF2B5EF4-FFF2-40B4-BE49-F238E27FC236}">
                    <a16:creationId xmlns="" xmlns:a16="http://schemas.microsoft.com/office/drawing/2014/main" id="{7DEF6A14-CFE9-CD48-8A4C-3FAD93E95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6" name="Freeform 297">
                <a:extLst>
                  <a:ext uri="{FF2B5EF4-FFF2-40B4-BE49-F238E27FC236}">
                    <a16:creationId xmlns="" xmlns:a16="http://schemas.microsoft.com/office/drawing/2014/main" id="{1532C1D2-BC50-1041-980A-77778690D1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7" name="Line 298">
                <a:extLst>
                  <a:ext uri="{FF2B5EF4-FFF2-40B4-BE49-F238E27FC236}">
                    <a16:creationId xmlns="" xmlns:a16="http://schemas.microsoft.com/office/drawing/2014/main" id="{B52432CE-EE26-AA4A-B2C0-6B31DB3FFF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8" name="Freeform 299">
                <a:extLst>
                  <a:ext uri="{FF2B5EF4-FFF2-40B4-BE49-F238E27FC236}">
                    <a16:creationId xmlns="" xmlns:a16="http://schemas.microsoft.com/office/drawing/2014/main" id="{0984334E-40B3-E243-B2BE-5E02E34FB2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99" name="Line 300">
                <a:extLst>
                  <a:ext uri="{FF2B5EF4-FFF2-40B4-BE49-F238E27FC236}">
                    <a16:creationId xmlns="" xmlns:a16="http://schemas.microsoft.com/office/drawing/2014/main" id="{CADA7723-3FD3-D84E-AC0E-5584407FE1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0" name="Freeform 301">
                <a:extLst>
                  <a:ext uri="{FF2B5EF4-FFF2-40B4-BE49-F238E27FC236}">
                    <a16:creationId xmlns="" xmlns:a16="http://schemas.microsoft.com/office/drawing/2014/main" id="{C5FC7B60-A792-7C44-BA02-C3F6315F6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1" name="Freeform 302">
                <a:extLst>
                  <a:ext uri="{FF2B5EF4-FFF2-40B4-BE49-F238E27FC236}">
                    <a16:creationId xmlns="" xmlns:a16="http://schemas.microsoft.com/office/drawing/2014/main" id="{38CAA4F7-F758-D94D-93DB-8701D59B02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0 h 1"/>
                  <a:gd name="T2" fmla="*/ 1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2" name="Freeform 303">
                <a:extLst>
                  <a:ext uri="{FF2B5EF4-FFF2-40B4-BE49-F238E27FC236}">
                    <a16:creationId xmlns="" xmlns:a16="http://schemas.microsoft.com/office/drawing/2014/main" id="{65A2A33F-9BE2-0348-B940-CF4C61C90D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3" name="Freeform 304">
                <a:extLst>
                  <a:ext uri="{FF2B5EF4-FFF2-40B4-BE49-F238E27FC236}">
                    <a16:creationId xmlns="" xmlns:a16="http://schemas.microsoft.com/office/drawing/2014/main" id="{6BEF07BA-B466-244C-91C3-1950A3B1CE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4" name="Freeform 305">
                <a:extLst>
                  <a:ext uri="{FF2B5EF4-FFF2-40B4-BE49-F238E27FC236}">
                    <a16:creationId xmlns="" xmlns:a16="http://schemas.microsoft.com/office/drawing/2014/main" id="{34A33D50-0145-7A47-8B03-0D230C7BCD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05" name="Line 306">
                <a:extLst>
                  <a:ext uri="{FF2B5EF4-FFF2-40B4-BE49-F238E27FC236}">
                    <a16:creationId xmlns="" xmlns:a16="http://schemas.microsoft.com/office/drawing/2014/main" id="{46604A5F-9C22-8D4D-8091-376A071B8F1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23" name="Freeform 307">
              <a:extLst>
                <a:ext uri="{FF2B5EF4-FFF2-40B4-BE49-F238E27FC236}">
                  <a16:creationId xmlns="" xmlns:a16="http://schemas.microsoft.com/office/drawing/2014/main" id="{F69B56C1-54B3-994F-863B-04D41798A26C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308">
              <a:extLst>
                <a:ext uri="{FF2B5EF4-FFF2-40B4-BE49-F238E27FC236}">
                  <a16:creationId xmlns="" xmlns:a16="http://schemas.microsoft.com/office/drawing/2014/main" id="{5EBB0534-09AC-9744-BC44-22D88B5FC82D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309">
              <a:extLst>
                <a:ext uri="{FF2B5EF4-FFF2-40B4-BE49-F238E27FC236}">
                  <a16:creationId xmlns="" xmlns:a16="http://schemas.microsoft.com/office/drawing/2014/main" id="{7462D812-5BD0-114C-ABE8-2C7A064EC6E0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310">
              <a:extLst>
                <a:ext uri="{FF2B5EF4-FFF2-40B4-BE49-F238E27FC236}">
                  <a16:creationId xmlns="" xmlns:a16="http://schemas.microsoft.com/office/drawing/2014/main" id="{69D42402-00B2-E449-BF7A-50E6FE9C1E60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311">
              <a:extLst>
                <a:ext uri="{FF2B5EF4-FFF2-40B4-BE49-F238E27FC236}">
                  <a16:creationId xmlns="" xmlns:a16="http://schemas.microsoft.com/office/drawing/2014/main" id="{40399236-EDF9-7343-81BC-5BCEC9391E0D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312">
              <a:extLst>
                <a:ext uri="{FF2B5EF4-FFF2-40B4-BE49-F238E27FC236}">
                  <a16:creationId xmlns="" xmlns:a16="http://schemas.microsoft.com/office/drawing/2014/main" id="{F38B3B66-3992-F146-B048-868377F99D66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313">
              <a:extLst>
                <a:ext uri="{FF2B5EF4-FFF2-40B4-BE49-F238E27FC236}">
                  <a16:creationId xmlns="" xmlns:a16="http://schemas.microsoft.com/office/drawing/2014/main" id="{8A8C8126-B163-5747-9FA7-B03E3B423F98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314">
              <a:extLst>
                <a:ext uri="{FF2B5EF4-FFF2-40B4-BE49-F238E27FC236}">
                  <a16:creationId xmlns="" xmlns:a16="http://schemas.microsoft.com/office/drawing/2014/main" id="{8050BA7D-1EF7-8C43-90C1-8F8FC2E8FC7A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315">
              <a:extLst>
                <a:ext uri="{FF2B5EF4-FFF2-40B4-BE49-F238E27FC236}">
                  <a16:creationId xmlns="" xmlns:a16="http://schemas.microsoft.com/office/drawing/2014/main" id="{9B17BFE7-9BDD-0C44-A9C5-DAA7795E7DC7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316">
              <a:extLst>
                <a:ext uri="{FF2B5EF4-FFF2-40B4-BE49-F238E27FC236}">
                  <a16:creationId xmlns="" xmlns:a16="http://schemas.microsoft.com/office/drawing/2014/main" id="{69B73C26-A085-EB4B-8EFC-20F0BC3C8A8A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317">
              <a:extLst>
                <a:ext uri="{FF2B5EF4-FFF2-40B4-BE49-F238E27FC236}">
                  <a16:creationId xmlns="" xmlns:a16="http://schemas.microsoft.com/office/drawing/2014/main" id="{C23C2F3E-A6FE-A842-84FF-3DFD8D4D346A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318">
              <a:extLst>
                <a:ext uri="{FF2B5EF4-FFF2-40B4-BE49-F238E27FC236}">
                  <a16:creationId xmlns="" xmlns:a16="http://schemas.microsoft.com/office/drawing/2014/main" id="{A161585D-ACE0-034E-B8E2-301A6EF0E66A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319">
              <a:extLst>
                <a:ext uri="{FF2B5EF4-FFF2-40B4-BE49-F238E27FC236}">
                  <a16:creationId xmlns="" xmlns:a16="http://schemas.microsoft.com/office/drawing/2014/main" id="{329697F9-000B-B043-9F41-6CA86B82C668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Freeform 320">
              <a:extLst>
                <a:ext uri="{FF2B5EF4-FFF2-40B4-BE49-F238E27FC236}">
                  <a16:creationId xmlns="" xmlns:a16="http://schemas.microsoft.com/office/drawing/2014/main" id="{70417F0F-08BC-9140-8B0E-DC2CE402EE80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321">
              <a:extLst>
                <a:ext uri="{FF2B5EF4-FFF2-40B4-BE49-F238E27FC236}">
                  <a16:creationId xmlns="" xmlns:a16="http://schemas.microsoft.com/office/drawing/2014/main" id="{051DC0CA-DDCB-CA41-AD5B-AD2D3884EAB7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322">
              <a:extLst>
                <a:ext uri="{FF2B5EF4-FFF2-40B4-BE49-F238E27FC236}">
                  <a16:creationId xmlns="" xmlns:a16="http://schemas.microsoft.com/office/drawing/2014/main" id="{9CCBB84E-0F3D-A149-9EF4-9347DD0EEBEF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323">
              <a:extLst>
                <a:ext uri="{FF2B5EF4-FFF2-40B4-BE49-F238E27FC236}">
                  <a16:creationId xmlns="" xmlns:a16="http://schemas.microsoft.com/office/drawing/2014/main" id="{88D53115-7C1B-E240-9A3E-BCFA6C48DFD2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324">
              <a:extLst>
                <a:ext uri="{FF2B5EF4-FFF2-40B4-BE49-F238E27FC236}">
                  <a16:creationId xmlns="" xmlns:a16="http://schemas.microsoft.com/office/drawing/2014/main" id="{E31392E5-8A85-7B4F-AAB9-461D66420E5F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325">
              <a:extLst>
                <a:ext uri="{FF2B5EF4-FFF2-40B4-BE49-F238E27FC236}">
                  <a16:creationId xmlns="" xmlns:a16="http://schemas.microsoft.com/office/drawing/2014/main" id="{5AE5D4E9-A22C-3143-B1CE-BC6FFAF447D0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326">
              <a:extLst>
                <a:ext uri="{FF2B5EF4-FFF2-40B4-BE49-F238E27FC236}">
                  <a16:creationId xmlns="" xmlns:a16="http://schemas.microsoft.com/office/drawing/2014/main" id="{0D5F52A4-8C91-AA46-8FED-6DCD80BE87C4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Line 327" descr="Horizontal dunkel">
              <a:extLst>
                <a:ext uri="{FF2B5EF4-FFF2-40B4-BE49-F238E27FC236}">
                  <a16:creationId xmlns="" xmlns:a16="http://schemas.microsoft.com/office/drawing/2014/main" id="{BDF27C55-0C79-2D43-996C-6F1D669E50AA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328">
              <a:extLst>
                <a:ext uri="{FF2B5EF4-FFF2-40B4-BE49-F238E27FC236}">
                  <a16:creationId xmlns="" xmlns:a16="http://schemas.microsoft.com/office/drawing/2014/main" id="{291A9360-B1F7-5C4F-B319-F65DB18DF6DC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329">
              <a:extLst>
                <a:ext uri="{FF2B5EF4-FFF2-40B4-BE49-F238E27FC236}">
                  <a16:creationId xmlns="" xmlns:a16="http://schemas.microsoft.com/office/drawing/2014/main" id="{EDC8CFBF-3441-E94D-8433-8291234E09A3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330">
              <a:extLst>
                <a:ext uri="{FF2B5EF4-FFF2-40B4-BE49-F238E27FC236}">
                  <a16:creationId xmlns="" xmlns:a16="http://schemas.microsoft.com/office/drawing/2014/main" id="{C3E5C359-F9B3-444A-97FD-939C4FFA25A4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331">
              <a:extLst>
                <a:ext uri="{FF2B5EF4-FFF2-40B4-BE49-F238E27FC236}">
                  <a16:creationId xmlns="" xmlns:a16="http://schemas.microsoft.com/office/drawing/2014/main" id="{009A526D-C072-AC48-8956-7DA75D15F9AD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332">
              <a:extLst>
                <a:ext uri="{FF2B5EF4-FFF2-40B4-BE49-F238E27FC236}">
                  <a16:creationId xmlns="" xmlns:a16="http://schemas.microsoft.com/office/drawing/2014/main" id="{39B80C60-15E2-144C-813C-15D2E0D96233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333">
              <a:extLst>
                <a:ext uri="{FF2B5EF4-FFF2-40B4-BE49-F238E27FC236}">
                  <a16:creationId xmlns="" xmlns:a16="http://schemas.microsoft.com/office/drawing/2014/main" id="{0356164B-002C-2A48-B1FC-9841FACB6AC1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334">
              <a:extLst>
                <a:ext uri="{FF2B5EF4-FFF2-40B4-BE49-F238E27FC236}">
                  <a16:creationId xmlns="" xmlns:a16="http://schemas.microsoft.com/office/drawing/2014/main" id="{648B8352-CA11-C143-BD94-22023266722B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335">
              <a:extLst>
                <a:ext uri="{FF2B5EF4-FFF2-40B4-BE49-F238E27FC236}">
                  <a16:creationId xmlns="" xmlns:a16="http://schemas.microsoft.com/office/drawing/2014/main" id="{E1040FC7-0086-F249-ADAD-A3FCF2D30F3D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336">
              <a:extLst>
                <a:ext uri="{FF2B5EF4-FFF2-40B4-BE49-F238E27FC236}">
                  <a16:creationId xmlns="" xmlns:a16="http://schemas.microsoft.com/office/drawing/2014/main" id="{9C210BC6-1D30-F34E-8986-8CF2D334BC0A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337">
              <a:extLst>
                <a:ext uri="{FF2B5EF4-FFF2-40B4-BE49-F238E27FC236}">
                  <a16:creationId xmlns="" xmlns:a16="http://schemas.microsoft.com/office/drawing/2014/main" id="{97FAA339-C4FD-9749-8143-C0EE1DDC1ED7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338">
              <a:extLst>
                <a:ext uri="{FF2B5EF4-FFF2-40B4-BE49-F238E27FC236}">
                  <a16:creationId xmlns="" xmlns:a16="http://schemas.microsoft.com/office/drawing/2014/main" id="{FAFAA326-EE27-3F4D-BDFE-FE9135482E45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339">
              <a:extLst>
                <a:ext uri="{FF2B5EF4-FFF2-40B4-BE49-F238E27FC236}">
                  <a16:creationId xmlns="" xmlns:a16="http://schemas.microsoft.com/office/drawing/2014/main" id="{4441BCF3-6358-B44B-8495-B2D79FFFE54F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340">
              <a:extLst>
                <a:ext uri="{FF2B5EF4-FFF2-40B4-BE49-F238E27FC236}">
                  <a16:creationId xmlns="" xmlns:a16="http://schemas.microsoft.com/office/drawing/2014/main" id="{2BB1B147-FF60-9949-874C-2988E0FB62CD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57CFE3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341">
              <a:extLst>
                <a:ext uri="{FF2B5EF4-FFF2-40B4-BE49-F238E27FC236}">
                  <a16:creationId xmlns="" xmlns:a16="http://schemas.microsoft.com/office/drawing/2014/main" id="{A7035C6A-4564-2344-968D-FB359DD0A832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342">
              <a:extLst>
                <a:ext uri="{FF2B5EF4-FFF2-40B4-BE49-F238E27FC236}">
                  <a16:creationId xmlns="" xmlns:a16="http://schemas.microsoft.com/office/drawing/2014/main" id="{1A186725-76FA-7449-85F2-7DAADE97BB21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343">
              <a:extLst>
                <a:ext uri="{FF2B5EF4-FFF2-40B4-BE49-F238E27FC236}">
                  <a16:creationId xmlns="" xmlns:a16="http://schemas.microsoft.com/office/drawing/2014/main" id="{8BBB468C-EAD9-6E40-A97D-EF5367AC942A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344">
              <a:extLst>
                <a:ext uri="{FF2B5EF4-FFF2-40B4-BE49-F238E27FC236}">
                  <a16:creationId xmlns="" xmlns:a16="http://schemas.microsoft.com/office/drawing/2014/main" id="{D32F771C-5646-AD41-83CD-0DD12B7A530C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345">
              <a:extLst>
                <a:ext uri="{FF2B5EF4-FFF2-40B4-BE49-F238E27FC236}">
                  <a16:creationId xmlns="" xmlns:a16="http://schemas.microsoft.com/office/drawing/2014/main" id="{C1261295-D513-644E-A401-DFC5ACD058D7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346">
              <a:extLst>
                <a:ext uri="{FF2B5EF4-FFF2-40B4-BE49-F238E27FC236}">
                  <a16:creationId xmlns="" xmlns:a16="http://schemas.microsoft.com/office/drawing/2014/main" id="{87185D1A-AB78-0449-B466-C37E9FE13F91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347">
              <a:extLst>
                <a:ext uri="{FF2B5EF4-FFF2-40B4-BE49-F238E27FC236}">
                  <a16:creationId xmlns="" xmlns:a16="http://schemas.microsoft.com/office/drawing/2014/main" id="{3F8ACB16-9863-C64E-8DEE-01E0D9E254C5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348">
              <a:extLst>
                <a:ext uri="{FF2B5EF4-FFF2-40B4-BE49-F238E27FC236}">
                  <a16:creationId xmlns="" xmlns:a16="http://schemas.microsoft.com/office/drawing/2014/main" id="{61F84C9A-EED0-F241-A664-F1C34FA32650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349">
              <a:extLst>
                <a:ext uri="{FF2B5EF4-FFF2-40B4-BE49-F238E27FC236}">
                  <a16:creationId xmlns="" xmlns:a16="http://schemas.microsoft.com/office/drawing/2014/main" id="{3A520121-4A89-D546-B41B-7B60B000BA7F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350">
              <a:extLst>
                <a:ext uri="{FF2B5EF4-FFF2-40B4-BE49-F238E27FC236}">
                  <a16:creationId xmlns="" xmlns:a16="http://schemas.microsoft.com/office/drawing/2014/main" id="{3022536A-4427-9D4F-8C55-B227236F4FF3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351">
              <a:extLst>
                <a:ext uri="{FF2B5EF4-FFF2-40B4-BE49-F238E27FC236}">
                  <a16:creationId xmlns="" xmlns:a16="http://schemas.microsoft.com/office/drawing/2014/main" id="{77F4C155-3FDB-6541-BD8D-BB339FF1EBAF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352">
              <a:extLst>
                <a:ext uri="{FF2B5EF4-FFF2-40B4-BE49-F238E27FC236}">
                  <a16:creationId xmlns="" xmlns:a16="http://schemas.microsoft.com/office/drawing/2014/main" id="{3F997879-543A-F344-AA56-2D48BF521E19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353">
              <a:extLst>
                <a:ext uri="{FF2B5EF4-FFF2-40B4-BE49-F238E27FC236}">
                  <a16:creationId xmlns="" xmlns:a16="http://schemas.microsoft.com/office/drawing/2014/main" id="{0AC81175-019E-CC47-97D1-7414F7925B0A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354">
              <a:extLst>
                <a:ext uri="{FF2B5EF4-FFF2-40B4-BE49-F238E27FC236}">
                  <a16:creationId xmlns="" xmlns:a16="http://schemas.microsoft.com/office/drawing/2014/main" id="{CB773FD3-8166-0447-8F39-CCDD3E0CA97C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" name="Freeform 355">
              <a:extLst>
                <a:ext uri="{FF2B5EF4-FFF2-40B4-BE49-F238E27FC236}">
                  <a16:creationId xmlns="" xmlns:a16="http://schemas.microsoft.com/office/drawing/2014/main" id="{AE6C01F2-6456-224C-B5A2-E2F327C46EDD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356">
              <a:extLst>
                <a:ext uri="{FF2B5EF4-FFF2-40B4-BE49-F238E27FC236}">
                  <a16:creationId xmlns="" xmlns:a16="http://schemas.microsoft.com/office/drawing/2014/main" id="{7EB88FE3-07AD-884C-BF1E-8661645C357B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357">
              <a:extLst>
                <a:ext uri="{FF2B5EF4-FFF2-40B4-BE49-F238E27FC236}">
                  <a16:creationId xmlns="" xmlns:a16="http://schemas.microsoft.com/office/drawing/2014/main" id="{717BEC88-B7BD-B747-BC85-12BAE7B8FA59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" name="Freeform 358">
              <a:extLst>
                <a:ext uri="{FF2B5EF4-FFF2-40B4-BE49-F238E27FC236}">
                  <a16:creationId xmlns="" xmlns:a16="http://schemas.microsoft.com/office/drawing/2014/main" id="{0F2C2595-0515-804A-8AEE-A9C844483D94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Line 359">
              <a:extLst>
                <a:ext uri="{FF2B5EF4-FFF2-40B4-BE49-F238E27FC236}">
                  <a16:creationId xmlns="" xmlns:a16="http://schemas.microsoft.com/office/drawing/2014/main" id="{C24334FD-4BBB-B444-8677-30C9E6A7F92A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360">
              <a:extLst>
                <a:ext uri="{FF2B5EF4-FFF2-40B4-BE49-F238E27FC236}">
                  <a16:creationId xmlns="" xmlns:a16="http://schemas.microsoft.com/office/drawing/2014/main" id="{FD95A843-4CCC-CF48-8172-1B21B0A225C5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361">
              <a:extLst>
                <a:ext uri="{FF2B5EF4-FFF2-40B4-BE49-F238E27FC236}">
                  <a16:creationId xmlns="" xmlns:a16="http://schemas.microsoft.com/office/drawing/2014/main" id="{40863FE4-FFB4-DD4C-B89D-22484CED6DDB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78" name="Group 362">
              <a:extLst>
                <a:ext uri="{FF2B5EF4-FFF2-40B4-BE49-F238E27FC236}">
                  <a16:creationId xmlns="" xmlns:a16="http://schemas.microsoft.com/office/drawing/2014/main" id="{3B761DAA-3E79-A64D-A05C-136E4B571C16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479" name="Freeform 363">
                <a:extLst>
                  <a:ext uri="{FF2B5EF4-FFF2-40B4-BE49-F238E27FC236}">
                    <a16:creationId xmlns="" xmlns:a16="http://schemas.microsoft.com/office/drawing/2014/main" id="{52B958A3-3718-164F-98DB-13F0D5DC3C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D8E04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0" name="Freeform 364">
                <a:extLst>
                  <a:ext uri="{FF2B5EF4-FFF2-40B4-BE49-F238E27FC236}">
                    <a16:creationId xmlns="" xmlns:a16="http://schemas.microsoft.com/office/drawing/2014/main" id="{BE936A9E-B869-D34B-9494-5BE28E2EF4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81" name="Freeform 365">
                <a:extLst>
                  <a:ext uri="{FF2B5EF4-FFF2-40B4-BE49-F238E27FC236}">
                    <a16:creationId xmlns="" xmlns:a16="http://schemas.microsoft.com/office/drawing/2014/main" id="{886B29F4-A692-5B4C-97B2-CC20837E1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79" name="Freeform 366">
              <a:extLst>
                <a:ext uri="{FF2B5EF4-FFF2-40B4-BE49-F238E27FC236}">
                  <a16:creationId xmlns="" xmlns:a16="http://schemas.microsoft.com/office/drawing/2014/main" id="{54D145DF-77D7-5A46-B334-2278C7B915B6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" name="Freeform 367">
              <a:extLst>
                <a:ext uri="{FF2B5EF4-FFF2-40B4-BE49-F238E27FC236}">
                  <a16:creationId xmlns="" xmlns:a16="http://schemas.microsoft.com/office/drawing/2014/main" id="{86CEB8EB-B12C-4B43-8A1C-CCC74D4D0BC7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1" name="Group 368">
              <a:extLst>
                <a:ext uri="{FF2B5EF4-FFF2-40B4-BE49-F238E27FC236}">
                  <a16:creationId xmlns="" xmlns:a16="http://schemas.microsoft.com/office/drawing/2014/main" id="{347491E1-F9B9-654B-B414-FDA762F8EAAC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468" name="Freeform 369">
                <a:extLst>
                  <a:ext uri="{FF2B5EF4-FFF2-40B4-BE49-F238E27FC236}">
                    <a16:creationId xmlns="" xmlns:a16="http://schemas.microsoft.com/office/drawing/2014/main" id="{592AF484-7A0B-6F48-8034-42B9F4C16F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9" name="Line 370">
                <a:extLst>
                  <a:ext uri="{FF2B5EF4-FFF2-40B4-BE49-F238E27FC236}">
                    <a16:creationId xmlns="" xmlns:a16="http://schemas.microsoft.com/office/drawing/2014/main" id="{C7AB9026-F7F6-3C46-A9AA-BC797B2A409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0" name="Freeform 371">
                <a:extLst>
                  <a:ext uri="{FF2B5EF4-FFF2-40B4-BE49-F238E27FC236}">
                    <a16:creationId xmlns="" xmlns:a16="http://schemas.microsoft.com/office/drawing/2014/main" id="{E948B436-BE89-4B46-B468-DA45D963C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1" name="Freeform 372">
                <a:extLst>
                  <a:ext uri="{FF2B5EF4-FFF2-40B4-BE49-F238E27FC236}">
                    <a16:creationId xmlns="" xmlns:a16="http://schemas.microsoft.com/office/drawing/2014/main" id="{80EBB195-E065-354C-969D-D5FDB157B9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2" name="Freeform 373">
                <a:extLst>
                  <a:ext uri="{FF2B5EF4-FFF2-40B4-BE49-F238E27FC236}">
                    <a16:creationId xmlns="" xmlns:a16="http://schemas.microsoft.com/office/drawing/2014/main" id="{D2925D13-9E17-7447-91DD-538796871A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3" name="Line 374">
                <a:extLst>
                  <a:ext uri="{FF2B5EF4-FFF2-40B4-BE49-F238E27FC236}">
                    <a16:creationId xmlns="" xmlns:a16="http://schemas.microsoft.com/office/drawing/2014/main" id="{02FA49BD-B5C9-2D4C-BF88-CCC50E62C05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4" name="Freeform 375">
                <a:extLst>
                  <a:ext uri="{FF2B5EF4-FFF2-40B4-BE49-F238E27FC236}">
                    <a16:creationId xmlns="" xmlns:a16="http://schemas.microsoft.com/office/drawing/2014/main" id="{44321DBD-C89A-B34C-816A-27DE05D3E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5" name="Freeform 376">
                <a:extLst>
                  <a:ext uri="{FF2B5EF4-FFF2-40B4-BE49-F238E27FC236}">
                    <a16:creationId xmlns="" xmlns:a16="http://schemas.microsoft.com/office/drawing/2014/main" id="{E004C91B-3F8A-DE4D-8933-34F1AC7E98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6" name="Freeform 377">
                <a:extLst>
                  <a:ext uri="{FF2B5EF4-FFF2-40B4-BE49-F238E27FC236}">
                    <a16:creationId xmlns="" xmlns:a16="http://schemas.microsoft.com/office/drawing/2014/main" id="{4F3CFFD2-44EB-CA4C-B6E1-7D6B263AA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7" name="Freeform 378">
                <a:extLst>
                  <a:ext uri="{FF2B5EF4-FFF2-40B4-BE49-F238E27FC236}">
                    <a16:creationId xmlns="" xmlns:a16="http://schemas.microsoft.com/office/drawing/2014/main" id="{F881467C-25D1-2B4F-B273-4C4DFF04F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78" name="Freeform 379">
                <a:extLst>
                  <a:ext uri="{FF2B5EF4-FFF2-40B4-BE49-F238E27FC236}">
                    <a16:creationId xmlns="" xmlns:a16="http://schemas.microsoft.com/office/drawing/2014/main" id="{6D3232DE-047F-9345-AC8B-3D0663D67F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2" name="Freeform 380">
              <a:extLst>
                <a:ext uri="{FF2B5EF4-FFF2-40B4-BE49-F238E27FC236}">
                  <a16:creationId xmlns="" xmlns:a16="http://schemas.microsoft.com/office/drawing/2014/main" id="{63B824DC-AF7C-4A4F-87D8-CD54560794D5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381">
              <a:extLst>
                <a:ext uri="{FF2B5EF4-FFF2-40B4-BE49-F238E27FC236}">
                  <a16:creationId xmlns="" xmlns:a16="http://schemas.microsoft.com/office/drawing/2014/main" id="{55BCEC85-3C34-4C4B-99AC-F75223E41261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382">
              <a:extLst>
                <a:ext uri="{FF2B5EF4-FFF2-40B4-BE49-F238E27FC236}">
                  <a16:creationId xmlns="" xmlns:a16="http://schemas.microsoft.com/office/drawing/2014/main" id="{2E291851-3F2D-ED4E-97C7-DBA52A070162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" name="Freeform 383">
              <a:extLst>
                <a:ext uri="{FF2B5EF4-FFF2-40B4-BE49-F238E27FC236}">
                  <a16:creationId xmlns="" xmlns:a16="http://schemas.microsoft.com/office/drawing/2014/main" id="{824FCED3-E44A-3440-AC39-382D5638BD0D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86" name="Group 384">
              <a:extLst>
                <a:ext uri="{FF2B5EF4-FFF2-40B4-BE49-F238E27FC236}">
                  <a16:creationId xmlns="" xmlns:a16="http://schemas.microsoft.com/office/drawing/2014/main" id="{C0450EEC-2F20-154D-ABE1-148DE29DB866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462" name="Freeform 385">
                <a:extLst>
                  <a:ext uri="{FF2B5EF4-FFF2-40B4-BE49-F238E27FC236}">
                    <a16:creationId xmlns="" xmlns:a16="http://schemas.microsoft.com/office/drawing/2014/main" id="{23968A15-EFBA-0542-9AD6-A03F80C010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3" name="Freeform 386">
                <a:extLst>
                  <a:ext uri="{FF2B5EF4-FFF2-40B4-BE49-F238E27FC236}">
                    <a16:creationId xmlns="" xmlns:a16="http://schemas.microsoft.com/office/drawing/2014/main" id="{F112722A-DD9D-7A49-A07F-F9C7E7E53D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4" name="Freeform 387">
                <a:extLst>
                  <a:ext uri="{FF2B5EF4-FFF2-40B4-BE49-F238E27FC236}">
                    <a16:creationId xmlns="" xmlns:a16="http://schemas.microsoft.com/office/drawing/2014/main" id="{03D83C8B-9A9A-E341-910C-F86883ABDA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5" name="Freeform 388">
                <a:extLst>
                  <a:ext uri="{FF2B5EF4-FFF2-40B4-BE49-F238E27FC236}">
                    <a16:creationId xmlns="" xmlns:a16="http://schemas.microsoft.com/office/drawing/2014/main" id="{33D876F8-C551-3347-918E-B554BBDAFD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6" name="Freeform 389">
                <a:extLst>
                  <a:ext uri="{FF2B5EF4-FFF2-40B4-BE49-F238E27FC236}">
                    <a16:creationId xmlns="" xmlns:a16="http://schemas.microsoft.com/office/drawing/2014/main" id="{B0BBCF2E-B574-5444-84F7-4839209EDA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7" name="Freeform 390">
                <a:extLst>
                  <a:ext uri="{FF2B5EF4-FFF2-40B4-BE49-F238E27FC236}">
                    <a16:creationId xmlns="" xmlns:a16="http://schemas.microsoft.com/office/drawing/2014/main" id="{836E7646-0945-FF4C-82C8-854EEB38C6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87" name="Group 391">
              <a:extLst>
                <a:ext uri="{FF2B5EF4-FFF2-40B4-BE49-F238E27FC236}">
                  <a16:creationId xmlns="" xmlns:a16="http://schemas.microsoft.com/office/drawing/2014/main" id="{9F96B4FF-8843-CC4C-A437-32BD873B9BEE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</p:grpSpPr>
          <p:sp>
            <p:nvSpPr>
              <p:cNvPr id="420" name="Freeform 392">
                <a:extLst>
                  <a:ext uri="{FF2B5EF4-FFF2-40B4-BE49-F238E27FC236}">
                    <a16:creationId xmlns="" xmlns:a16="http://schemas.microsoft.com/office/drawing/2014/main" id="{8CA54C9D-707C-8345-949B-2C93CB72DF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1" name="Freeform 393">
                <a:extLst>
                  <a:ext uri="{FF2B5EF4-FFF2-40B4-BE49-F238E27FC236}">
                    <a16:creationId xmlns="" xmlns:a16="http://schemas.microsoft.com/office/drawing/2014/main" id="{163EC177-EE04-0645-A146-76B5689183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2" name="Freeform 394">
                <a:extLst>
                  <a:ext uri="{FF2B5EF4-FFF2-40B4-BE49-F238E27FC236}">
                    <a16:creationId xmlns="" xmlns:a16="http://schemas.microsoft.com/office/drawing/2014/main" id="{B7D966E7-B39B-4640-9446-B4B5C6C7DC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3" name="Freeform 395">
                <a:extLst>
                  <a:ext uri="{FF2B5EF4-FFF2-40B4-BE49-F238E27FC236}">
                    <a16:creationId xmlns="" xmlns:a16="http://schemas.microsoft.com/office/drawing/2014/main" id="{6279BFAB-521C-1241-9C4E-C3A04698D7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4" name="Freeform 396">
                <a:extLst>
                  <a:ext uri="{FF2B5EF4-FFF2-40B4-BE49-F238E27FC236}">
                    <a16:creationId xmlns="" xmlns:a16="http://schemas.microsoft.com/office/drawing/2014/main" id="{D9F3844A-5C1D-4643-9CBB-D411E431D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5" name="Freeform 397">
                <a:extLst>
                  <a:ext uri="{FF2B5EF4-FFF2-40B4-BE49-F238E27FC236}">
                    <a16:creationId xmlns="" xmlns:a16="http://schemas.microsoft.com/office/drawing/2014/main" id="{CDB4184B-D532-B34B-A15C-539BDA931B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6" name="Freeform 398">
                <a:extLst>
                  <a:ext uri="{FF2B5EF4-FFF2-40B4-BE49-F238E27FC236}">
                    <a16:creationId xmlns="" xmlns:a16="http://schemas.microsoft.com/office/drawing/2014/main" id="{AC8A8DBE-ED33-B047-BB2C-68F3300C7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7" name="Freeform 399">
                <a:extLst>
                  <a:ext uri="{FF2B5EF4-FFF2-40B4-BE49-F238E27FC236}">
                    <a16:creationId xmlns="" xmlns:a16="http://schemas.microsoft.com/office/drawing/2014/main" id="{8000D149-3C9C-FD4E-8B3F-C3ABE704AF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8" name="Freeform 400">
                <a:extLst>
                  <a:ext uri="{FF2B5EF4-FFF2-40B4-BE49-F238E27FC236}">
                    <a16:creationId xmlns="" xmlns:a16="http://schemas.microsoft.com/office/drawing/2014/main" id="{6C7487B8-A7BC-E441-AF58-BF8ADBBD0D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9" name="Freeform 401">
                <a:extLst>
                  <a:ext uri="{FF2B5EF4-FFF2-40B4-BE49-F238E27FC236}">
                    <a16:creationId xmlns="" xmlns:a16="http://schemas.microsoft.com/office/drawing/2014/main" id="{01680E72-057B-A647-BBDA-5A214B7D7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0" name="Freeform 402">
                <a:extLst>
                  <a:ext uri="{FF2B5EF4-FFF2-40B4-BE49-F238E27FC236}">
                    <a16:creationId xmlns="" xmlns:a16="http://schemas.microsoft.com/office/drawing/2014/main" id="{AD4D3C80-7AC5-1E48-B7B5-433DB7D3D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1" name="Freeform 403">
                <a:extLst>
                  <a:ext uri="{FF2B5EF4-FFF2-40B4-BE49-F238E27FC236}">
                    <a16:creationId xmlns="" xmlns:a16="http://schemas.microsoft.com/office/drawing/2014/main" id="{BEC54361-38ED-0945-B904-371F63AF46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2" name="Freeform 404">
                <a:extLst>
                  <a:ext uri="{FF2B5EF4-FFF2-40B4-BE49-F238E27FC236}">
                    <a16:creationId xmlns="" xmlns:a16="http://schemas.microsoft.com/office/drawing/2014/main" id="{94A2D4D1-5543-FD48-9527-6DF8F5AC5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3" name="Freeform 405">
                <a:extLst>
                  <a:ext uri="{FF2B5EF4-FFF2-40B4-BE49-F238E27FC236}">
                    <a16:creationId xmlns="" xmlns:a16="http://schemas.microsoft.com/office/drawing/2014/main" id="{DBF35799-4D64-6340-9930-2E7D13914F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4" name="Freeform 406">
                <a:extLst>
                  <a:ext uri="{FF2B5EF4-FFF2-40B4-BE49-F238E27FC236}">
                    <a16:creationId xmlns="" xmlns:a16="http://schemas.microsoft.com/office/drawing/2014/main" id="{10BBE1A1-8F9F-4B41-A3FA-FEC0BB997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5" name="Freeform 407">
                <a:extLst>
                  <a:ext uri="{FF2B5EF4-FFF2-40B4-BE49-F238E27FC236}">
                    <a16:creationId xmlns="" xmlns:a16="http://schemas.microsoft.com/office/drawing/2014/main" id="{6EF71097-E662-E844-9F9E-F8B9B024EA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6" name="Freeform 408">
                <a:extLst>
                  <a:ext uri="{FF2B5EF4-FFF2-40B4-BE49-F238E27FC236}">
                    <a16:creationId xmlns="" xmlns:a16="http://schemas.microsoft.com/office/drawing/2014/main" id="{F42C7738-F8E8-B24A-9341-E3F56DDF69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7" name="Freeform 409">
                <a:extLst>
                  <a:ext uri="{FF2B5EF4-FFF2-40B4-BE49-F238E27FC236}">
                    <a16:creationId xmlns="" xmlns:a16="http://schemas.microsoft.com/office/drawing/2014/main" id="{4B8D2AF7-7ED4-3E41-9016-F903B8B245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8" name="Freeform 410">
                <a:extLst>
                  <a:ext uri="{FF2B5EF4-FFF2-40B4-BE49-F238E27FC236}">
                    <a16:creationId xmlns="" xmlns:a16="http://schemas.microsoft.com/office/drawing/2014/main" id="{36B0A1A6-89CA-C347-9B7B-9AF625207E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9" name="Freeform 411">
                <a:extLst>
                  <a:ext uri="{FF2B5EF4-FFF2-40B4-BE49-F238E27FC236}">
                    <a16:creationId xmlns="" xmlns:a16="http://schemas.microsoft.com/office/drawing/2014/main" id="{F11F5987-6FA2-CE42-9906-E483048198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0" name="Freeform 412">
                <a:extLst>
                  <a:ext uri="{FF2B5EF4-FFF2-40B4-BE49-F238E27FC236}">
                    <a16:creationId xmlns="" xmlns:a16="http://schemas.microsoft.com/office/drawing/2014/main" id="{1BCCD516-C1F0-A646-A23B-1BD8BF4FF4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1" name="Freeform 413">
                <a:extLst>
                  <a:ext uri="{FF2B5EF4-FFF2-40B4-BE49-F238E27FC236}">
                    <a16:creationId xmlns="" xmlns:a16="http://schemas.microsoft.com/office/drawing/2014/main" id="{A86272F2-65BC-5F4F-B22A-3A6354658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2" name="Freeform 414">
                <a:extLst>
                  <a:ext uri="{FF2B5EF4-FFF2-40B4-BE49-F238E27FC236}">
                    <a16:creationId xmlns="" xmlns:a16="http://schemas.microsoft.com/office/drawing/2014/main" id="{E8EC36D2-72A2-3447-B19A-2B42E451C1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3" name="Freeform 415">
                <a:extLst>
                  <a:ext uri="{FF2B5EF4-FFF2-40B4-BE49-F238E27FC236}">
                    <a16:creationId xmlns="" xmlns:a16="http://schemas.microsoft.com/office/drawing/2014/main" id="{A49A6917-F8F5-7349-AFA6-B2FB30815C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4" name="Freeform 416">
                <a:extLst>
                  <a:ext uri="{FF2B5EF4-FFF2-40B4-BE49-F238E27FC236}">
                    <a16:creationId xmlns="" xmlns:a16="http://schemas.microsoft.com/office/drawing/2014/main" id="{5C6578AF-FD44-2040-B39D-A2B981986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5" name="Freeform 417">
                <a:extLst>
                  <a:ext uri="{FF2B5EF4-FFF2-40B4-BE49-F238E27FC236}">
                    <a16:creationId xmlns="" xmlns:a16="http://schemas.microsoft.com/office/drawing/2014/main" id="{74FDAC9D-50C4-1C46-B3CF-1AABAFC9A2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6" name="Freeform 418">
                <a:extLst>
                  <a:ext uri="{FF2B5EF4-FFF2-40B4-BE49-F238E27FC236}">
                    <a16:creationId xmlns="" xmlns:a16="http://schemas.microsoft.com/office/drawing/2014/main" id="{A52EDBA1-4316-4749-8E31-49041AE3CE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7" name="Freeform 419">
                <a:extLst>
                  <a:ext uri="{FF2B5EF4-FFF2-40B4-BE49-F238E27FC236}">
                    <a16:creationId xmlns="" xmlns:a16="http://schemas.microsoft.com/office/drawing/2014/main" id="{0721A9E8-E15F-2F49-BDBB-6C14D86BD6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8" name="Freeform 420">
                <a:extLst>
                  <a:ext uri="{FF2B5EF4-FFF2-40B4-BE49-F238E27FC236}">
                    <a16:creationId xmlns="" xmlns:a16="http://schemas.microsoft.com/office/drawing/2014/main" id="{4CDFA841-A53E-D640-B142-36CD890090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9" name="Freeform 421">
                <a:extLst>
                  <a:ext uri="{FF2B5EF4-FFF2-40B4-BE49-F238E27FC236}">
                    <a16:creationId xmlns="" xmlns:a16="http://schemas.microsoft.com/office/drawing/2014/main" id="{A7637C27-2866-B74E-B966-583CF05496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0" name="Freeform 422">
                <a:extLst>
                  <a:ext uri="{FF2B5EF4-FFF2-40B4-BE49-F238E27FC236}">
                    <a16:creationId xmlns="" xmlns:a16="http://schemas.microsoft.com/office/drawing/2014/main" id="{6284256C-AC94-2047-9A03-5FCE2D053C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1" name="Freeform 423">
                <a:extLst>
                  <a:ext uri="{FF2B5EF4-FFF2-40B4-BE49-F238E27FC236}">
                    <a16:creationId xmlns="" xmlns:a16="http://schemas.microsoft.com/office/drawing/2014/main" id="{D22123B7-66F7-C847-8B84-ED3335041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2" name="Freeform 424">
                <a:extLst>
                  <a:ext uri="{FF2B5EF4-FFF2-40B4-BE49-F238E27FC236}">
                    <a16:creationId xmlns="" xmlns:a16="http://schemas.microsoft.com/office/drawing/2014/main" id="{0F999758-017F-8340-920F-40D83184F2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3" name="Freeform 425">
                <a:extLst>
                  <a:ext uri="{FF2B5EF4-FFF2-40B4-BE49-F238E27FC236}">
                    <a16:creationId xmlns="" xmlns:a16="http://schemas.microsoft.com/office/drawing/2014/main" id="{C2A0A3FF-225B-894B-9709-85685BEE17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4" name="Freeform 426">
                <a:extLst>
                  <a:ext uri="{FF2B5EF4-FFF2-40B4-BE49-F238E27FC236}">
                    <a16:creationId xmlns="" xmlns:a16="http://schemas.microsoft.com/office/drawing/2014/main" id="{EF587BE3-B088-3F48-8455-A5147188F5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5" name="Freeform 427">
                <a:extLst>
                  <a:ext uri="{FF2B5EF4-FFF2-40B4-BE49-F238E27FC236}">
                    <a16:creationId xmlns="" xmlns:a16="http://schemas.microsoft.com/office/drawing/2014/main" id="{35F80D27-3B0D-8045-8227-DF6309A69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6" name="Freeform 428">
                <a:extLst>
                  <a:ext uri="{FF2B5EF4-FFF2-40B4-BE49-F238E27FC236}">
                    <a16:creationId xmlns="" xmlns:a16="http://schemas.microsoft.com/office/drawing/2014/main" id="{FB1E84BC-5E15-8843-9CC3-C5A2310B64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7" name="Freeform 429">
                <a:extLst>
                  <a:ext uri="{FF2B5EF4-FFF2-40B4-BE49-F238E27FC236}">
                    <a16:creationId xmlns="" xmlns:a16="http://schemas.microsoft.com/office/drawing/2014/main" id="{4AEF21B4-4579-1C4B-9AD3-32091F0F16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8" name="Freeform 430">
                <a:extLst>
                  <a:ext uri="{FF2B5EF4-FFF2-40B4-BE49-F238E27FC236}">
                    <a16:creationId xmlns="" xmlns:a16="http://schemas.microsoft.com/office/drawing/2014/main" id="{7973DB08-77A3-2546-B8CF-B8FFFE6C1D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9" name="Freeform 431">
                <a:extLst>
                  <a:ext uri="{FF2B5EF4-FFF2-40B4-BE49-F238E27FC236}">
                    <a16:creationId xmlns="" xmlns:a16="http://schemas.microsoft.com/office/drawing/2014/main" id="{78CC1E73-7D43-764E-80B8-EA7DD0D96C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0" name="Freeform 432">
                <a:extLst>
                  <a:ext uri="{FF2B5EF4-FFF2-40B4-BE49-F238E27FC236}">
                    <a16:creationId xmlns="" xmlns:a16="http://schemas.microsoft.com/office/drawing/2014/main" id="{66853984-13F8-914E-B3C1-7E07B5EC3E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1" name="Freeform 433">
                <a:extLst>
                  <a:ext uri="{FF2B5EF4-FFF2-40B4-BE49-F238E27FC236}">
                    <a16:creationId xmlns="" xmlns:a16="http://schemas.microsoft.com/office/drawing/2014/main" id="{7AE0C418-03EA-484C-9F86-5EC1CC2E20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88" name="Freeform 434">
              <a:extLst>
                <a:ext uri="{FF2B5EF4-FFF2-40B4-BE49-F238E27FC236}">
                  <a16:creationId xmlns="" xmlns:a16="http://schemas.microsoft.com/office/drawing/2014/main" id="{29666BC5-F11F-0E45-9238-D6DD22B76106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435">
              <a:extLst>
                <a:ext uri="{FF2B5EF4-FFF2-40B4-BE49-F238E27FC236}">
                  <a16:creationId xmlns="" xmlns:a16="http://schemas.microsoft.com/office/drawing/2014/main" id="{760D96CF-57C0-0247-80F3-F74A96A6CBB2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436">
              <a:extLst>
                <a:ext uri="{FF2B5EF4-FFF2-40B4-BE49-F238E27FC236}">
                  <a16:creationId xmlns="" xmlns:a16="http://schemas.microsoft.com/office/drawing/2014/main" id="{4F995366-05D0-F14F-AE8C-AC882D576012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437">
              <a:extLst>
                <a:ext uri="{FF2B5EF4-FFF2-40B4-BE49-F238E27FC236}">
                  <a16:creationId xmlns="" xmlns:a16="http://schemas.microsoft.com/office/drawing/2014/main" id="{E2F75276-0996-DA4F-B94A-A9762B26C75A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292" name="Group 438">
              <a:extLst>
                <a:ext uri="{FF2B5EF4-FFF2-40B4-BE49-F238E27FC236}">
                  <a16:creationId xmlns="" xmlns:a16="http://schemas.microsoft.com/office/drawing/2014/main" id="{1C4AC4FE-FF0E-1045-BBB2-BAE0DDBC57F1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417" name="Freeform 439">
                <a:extLst>
                  <a:ext uri="{FF2B5EF4-FFF2-40B4-BE49-F238E27FC236}">
                    <a16:creationId xmlns="" xmlns:a16="http://schemas.microsoft.com/office/drawing/2014/main" id="{5B7A96A7-EE48-6E4E-90E9-196DC4933E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8" name="Freeform 440">
                <a:extLst>
                  <a:ext uri="{FF2B5EF4-FFF2-40B4-BE49-F238E27FC236}">
                    <a16:creationId xmlns="" xmlns:a16="http://schemas.microsoft.com/office/drawing/2014/main" id="{5D0B110A-3114-F74B-A1DC-99540CC04B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9" name="Freeform 441">
                <a:extLst>
                  <a:ext uri="{FF2B5EF4-FFF2-40B4-BE49-F238E27FC236}">
                    <a16:creationId xmlns="" xmlns:a16="http://schemas.microsoft.com/office/drawing/2014/main" id="{5C1B8E5C-5163-144E-B6B2-B528C85B9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93" name="Freeform 442">
              <a:extLst>
                <a:ext uri="{FF2B5EF4-FFF2-40B4-BE49-F238E27FC236}">
                  <a16:creationId xmlns="" xmlns:a16="http://schemas.microsoft.com/office/drawing/2014/main" id="{8744C44D-1501-C74F-85E0-28CE8C0A9C90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443">
              <a:extLst>
                <a:ext uri="{FF2B5EF4-FFF2-40B4-BE49-F238E27FC236}">
                  <a16:creationId xmlns="" xmlns:a16="http://schemas.microsoft.com/office/drawing/2014/main" id="{C6A07AE2-7CF6-9346-8023-FC2845A6081D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444">
              <a:extLst>
                <a:ext uri="{FF2B5EF4-FFF2-40B4-BE49-F238E27FC236}">
                  <a16:creationId xmlns="" xmlns:a16="http://schemas.microsoft.com/office/drawing/2014/main" id="{C8C5F17F-C29E-6F49-A17E-C79D62A1CF4F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445">
              <a:extLst>
                <a:ext uri="{FF2B5EF4-FFF2-40B4-BE49-F238E27FC236}">
                  <a16:creationId xmlns="" xmlns:a16="http://schemas.microsoft.com/office/drawing/2014/main" id="{935D8171-CDD9-1844-8CA0-C6078B47592A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446">
              <a:extLst>
                <a:ext uri="{FF2B5EF4-FFF2-40B4-BE49-F238E27FC236}">
                  <a16:creationId xmlns="" xmlns:a16="http://schemas.microsoft.com/office/drawing/2014/main" id="{AF21EC4B-9EC9-A34B-8F34-39E5CCAF82B9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447">
              <a:extLst>
                <a:ext uri="{FF2B5EF4-FFF2-40B4-BE49-F238E27FC236}">
                  <a16:creationId xmlns="" xmlns:a16="http://schemas.microsoft.com/office/drawing/2014/main" id="{944D14FD-7A1A-7942-805A-F6CF320BE194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448">
              <a:extLst>
                <a:ext uri="{FF2B5EF4-FFF2-40B4-BE49-F238E27FC236}">
                  <a16:creationId xmlns="" xmlns:a16="http://schemas.microsoft.com/office/drawing/2014/main" id="{53199E1D-6F56-354A-BFA3-18DE675775BE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449">
              <a:extLst>
                <a:ext uri="{FF2B5EF4-FFF2-40B4-BE49-F238E27FC236}">
                  <a16:creationId xmlns="" xmlns:a16="http://schemas.microsoft.com/office/drawing/2014/main" id="{1E31393B-532C-C144-94DC-85997FBC903F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450">
              <a:extLst>
                <a:ext uri="{FF2B5EF4-FFF2-40B4-BE49-F238E27FC236}">
                  <a16:creationId xmlns="" xmlns:a16="http://schemas.microsoft.com/office/drawing/2014/main" id="{F5EC7CFA-3C20-C64A-9D45-10AD8E5C8D3B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451">
              <a:extLst>
                <a:ext uri="{FF2B5EF4-FFF2-40B4-BE49-F238E27FC236}">
                  <a16:creationId xmlns="" xmlns:a16="http://schemas.microsoft.com/office/drawing/2014/main" id="{7F11AC06-3B6D-BD4D-8013-BC36F52E1DBD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3" name="Freeform 452">
              <a:extLst>
                <a:ext uri="{FF2B5EF4-FFF2-40B4-BE49-F238E27FC236}">
                  <a16:creationId xmlns="" xmlns:a16="http://schemas.microsoft.com/office/drawing/2014/main" id="{84A01377-9F21-6747-9B5E-822493126F59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4" name="Freeform 453">
              <a:extLst>
                <a:ext uri="{FF2B5EF4-FFF2-40B4-BE49-F238E27FC236}">
                  <a16:creationId xmlns="" xmlns:a16="http://schemas.microsoft.com/office/drawing/2014/main" id="{B85F6D76-65E1-784E-81FC-2940AC05F8DF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5" name="Freeform 454">
              <a:extLst>
                <a:ext uri="{FF2B5EF4-FFF2-40B4-BE49-F238E27FC236}">
                  <a16:creationId xmlns="" xmlns:a16="http://schemas.microsoft.com/office/drawing/2014/main" id="{C2B80BFC-05A2-264B-A5F8-B614E7AF0073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6" name="Freeform 455">
              <a:extLst>
                <a:ext uri="{FF2B5EF4-FFF2-40B4-BE49-F238E27FC236}">
                  <a16:creationId xmlns="" xmlns:a16="http://schemas.microsoft.com/office/drawing/2014/main" id="{58E57DA8-3B5F-F64F-9BC8-0D29A2F44FBA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7" name="Freeform 456">
              <a:extLst>
                <a:ext uri="{FF2B5EF4-FFF2-40B4-BE49-F238E27FC236}">
                  <a16:creationId xmlns="" xmlns:a16="http://schemas.microsoft.com/office/drawing/2014/main" id="{AC13FFA8-4C01-B141-9155-A77E7F1D93E5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8" name="Freeform 457">
              <a:extLst>
                <a:ext uri="{FF2B5EF4-FFF2-40B4-BE49-F238E27FC236}">
                  <a16:creationId xmlns="" xmlns:a16="http://schemas.microsoft.com/office/drawing/2014/main" id="{A93F200A-90F6-2C46-ABFD-213897F3AE9E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9" name="Freeform 458">
              <a:extLst>
                <a:ext uri="{FF2B5EF4-FFF2-40B4-BE49-F238E27FC236}">
                  <a16:creationId xmlns="" xmlns:a16="http://schemas.microsoft.com/office/drawing/2014/main" id="{9253A3CC-9174-BA43-BD93-83F829389072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0" name="Freeform 459">
              <a:extLst>
                <a:ext uri="{FF2B5EF4-FFF2-40B4-BE49-F238E27FC236}">
                  <a16:creationId xmlns="" xmlns:a16="http://schemas.microsoft.com/office/drawing/2014/main" id="{3221A6BC-9E95-D04E-AE3C-1AFC0FFE34A4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1" name="Freeform 460">
              <a:extLst>
                <a:ext uri="{FF2B5EF4-FFF2-40B4-BE49-F238E27FC236}">
                  <a16:creationId xmlns="" xmlns:a16="http://schemas.microsoft.com/office/drawing/2014/main" id="{9BF18DD4-6ED3-C64D-BFA4-765841D655B1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2" name="Freeform 461">
              <a:extLst>
                <a:ext uri="{FF2B5EF4-FFF2-40B4-BE49-F238E27FC236}">
                  <a16:creationId xmlns="" xmlns:a16="http://schemas.microsoft.com/office/drawing/2014/main" id="{CEC42550-DEAD-3440-BB40-0F729B22B8A1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3" name="Freeform 462">
              <a:extLst>
                <a:ext uri="{FF2B5EF4-FFF2-40B4-BE49-F238E27FC236}">
                  <a16:creationId xmlns="" xmlns:a16="http://schemas.microsoft.com/office/drawing/2014/main" id="{E0C56F31-D9DA-BB46-9791-40EBCFF10089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4" name="Freeform 463">
              <a:extLst>
                <a:ext uri="{FF2B5EF4-FFF2-40B4-BE49-F238E27FC236}">
                  <a16:creationId xmlns="" xmlns:a16="http://schemas.microsoft.com/office/drawing/2014/main" id="{349F2E38-522F-0F4A-9C72-7FA3644C64A2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5" name="Freeform 464">
              <a:extLst>
                <a:ext uri="{FF2B5EF4-FFF2-40B4-BE49-F238E27FC236}">
                  <a16:creationId xmlns="" xmlns:a16="http://schemas.microsoft.com/office/drawing/2014/main" id="{3ED71DD0-A47E-4F4A-AB1D-2DE37814F6C4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6" name="Freeform 465">
              <a:extLst>
                <a:ext uri="{FF2B5EF4-FFF2-40B4-BE49-F238E27FC236}">
                  <a16:creationId xmlns="" xmlns:a16="http://schemas.microsoft.com/office/drawing/2014/main" id="{AF569F31-546A-B748-B885-AC64062DD42C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7" name="Freeform 466">
              <a:extLst>
                <a:ext uri="{FF2B5EF4-FFF2-40B4-BE49-F238E27FC236}">
                  <a16:creationId xmlns="" xmlns:a16="http://schemas.microsoft.com/office/drawing/2014/main" id="{CDA36069-9B28-5C4C-9352-AFEF412B5341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8" name="Freeform 467">
              <a:extLst>
                <a:ext uri="{FF2B5EF4-FFF2-40B4-BE49-F238E27FC236}">
                  <a16:creationId xmlns="" xmlns:a16="http://schemas.microsoft.com/office/drawing/2014/main" id="{87317850-7BCF-894A-82BF-E661CB46524B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19" name="Freeform 468">
              <a:extLst>
                <a:ext uri="{FF2B5EF4-FFF2-40B4-BE49-F238E27FC236}">
                  <a16:creationId xmlns="" xmlns:a16="http://schemas.microsoft.com/office/drawing/2014/main" id="{01F197F9-4A06-E442-AE67-E2C68BF1BE7C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0" name="Freeform 469">
              <a:extLst>
                <a:ext uri="{FF2B5EF4-FFF2-40B4-BE49-F238E27FC236}">
                  <a16:creationId xmlns="" xmlns:a16="http://schemas.microsoft.com/office/drawing/2014/main" id="{990E97E9-D6F1-F541-AFFB-DF1875669ABA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1" name="Freeform 470">
              <a:extLst>
                <a:ext uri="{FF2B5EF4-FFF2-40B4-BE49-F238E27FC236}">
                  <a16:creationId xmlns="" xmlns:a16="http://schemas.microsoft.com/office/drawing/2014/main" id="{83B67F6E-87E8-C44F-9178-1FFE367F2B30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2" name="Freeform 471">
              <a:extLst>
                <a:ext uri="{FF2B5EF4-FFF2-40B4-BE49-F238E27FC236}">
                  <a16:creationId xmlns="" xmlns:a16="http://schemas.microsoft.com/office/drawing/2014/main" id="{CA9138ED-F07B-C846-A262-E70DE853F8B0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3" name="Freeform 472">
              <a:extLst>
                <a:ext uri="{FF2B5EF4-FFF2-40B4-BE49-F238E27FC236}">
                  <a16:creationId xmlns="" xmlns:a16="http://schemas.microsoft.com/office/drawing/2014/main" id="{11D69F06-01F8-184F-9CE7-EA6272F553E8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4" name="Freeform 473">
              <a:extLst>
                <a:ext uri="{FF2B5EF4-FFF2-40B4-BE49-F238E27FC236}">
                  <a16:creationId xmlns="" xmlns:a16="http://schemas.microsoft.com/office/drawing/2014/main" id="{DDEACC6B-9A81-FA4C-95E6-B669182FBDC1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5" name="Freeform 474">
              <a:extLst>
                <a:ext uri="{FF2B5EF4-FFF2-40B4-BE49-F238E27FC236}">
                  <a16:creationId xmlns="" xmlns:a16="http://schemas.microsoft.com/office/drawing/2014/main" id="{13ED883D-672E-FD40-8A8D-02F3FEAE2FE3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6" name="Freeform 475">
              <a:extLst>
                <a:ext uri="{FF2B5EF4-FFF2-40B4-BE49-F238E27FC236}">
                  <a16:creationId xmlns="" xmlns:a16="http://schemas.microsoft.com/office/drawing/2014/main" id="{D46F6BB4-7709-1B48-B58F-0833BDB72921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7" name="Freeform 476">
              <a:extLst>
                <a:ext uri="{FF2B5EF4-FFF2-40B4-BE49-F238E27FC236}">
                  <a16:creationId xmlns="" xmlns:a16="http://schemas.microsoft.com/office/drawing/2014/main" id="{18BB1814-9952-7445-B1AC-35D55D64FED0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8" name="Freeform 477">
              <a:extLst>
                <a:ext uri="{FF2B5EF4-FFF2-40B4-BE49-F238E27FC236}">
                  <a16:creationId xmlns="" xmlns:a16="http://schemas.microsoft.com/office/drawing/2014/main" id="{44D6F5BE-5033-3B43-94CC-008F82471B85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478">
              <a:extLst>
                <a:ext uri="{FF2B5EF4-FFF2-40B4-BE49-F238E27FC236}">
                  <a16:creationId xmlns="" xmlns:a16="http://schemas.microsoft.com/office/drawing/2014/main" id="{3E3428ED-EC9B-434B-BB91-D78D63308DA1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479">
              <a:extLst>
                <a:ext uri="{FF2B5EF4-FFF2-40B4-BE49-F238E27FC236}">
                  <a16:creationId xmlns="" xmlns:a16="http://schemas.microsoft.com/office/drawing/2014/main" id="{09DCCE23-E9FC-1241-B171-F4B2E2B35479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480">
              <a:extLst>
                <a:ext uri="{FF2B5EF4-FFF2-40B4-BE49-F238E27FC236}">
                  <a16:creationId xmlns="" xmlns:a16="http://schemas.microsoft.com/office/drawing/2014/main" id="{842827E7-1D7D-FD49-ACA0-6188B4FE5626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481">
              <a:extLst>
                <a:ext uri="{FF2B5EF4-FFF2-40B4-BE49-F238E27FC236}">
                  <a16:creationId xmlns="" xmlns:a16="http://schemas.microsoft.com/office/drawing/2014/main" id="{69D54219-4761-A24A-A2C7-A1B3D3845622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482">
              <a:extLst>
                <a:ext uri="{FF2B5EF4-FFF2-40B4-BE49-F238E27FC236}">
                  <a16:creationId xmlns="" xmlns:a16="http://schemas.microsoft.com/office/drawing/2014/main" id="{3A89256B-FC54-8542-BAB0-D42702D34EAC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483">
              <a:extLst>
                <a:ext uri="{FF2B5EF4-FFF2-40B4-BE49-F238E27FC236}">
                  <a16:creationId xmlns="" xmlns:a16="http://schemas.microsoft.com/office/drawing/2014/main" id="{42FEF67B-83D9-0B49-BE7C-63736710AAE0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484">
              <a:extLst>
                <a:ext uri="{FF2B5EF4-FFF2-40B4-BE49-F238E27FC236}">
                  <a16:creationId xmlns="" xmlns:a16="http://schemas.microsoft.com/office/drawing/2014/main" id="{D88AA6A0-CCCF-0E4E-8BD0-936D39BB80DE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485">
              <a:extLst>
                <a:ext uri="{FF2B5EF4-FFF2-40B4-BE49-F238E27FC236}">
                  <a16:creationId xmlns="" xmlns:a16="http://schemas.microsoft.com/office/drawing/2014/main" id="{476C1AF1-F24D-AF40-B6B8-1FE6E2E003B9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486">
              <a:extLst>
                <a:ext uri="{FF2B5EF4-FFF2-40B4-BE49-F238E27FC236}">
                  <a16:creationId xmlns="" xmlns:a16="http://schemas.microsoft.com/office/drawing/2014/main" id="{5A3ABC90-BBB1-9340-B056-498E49A9C969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487">
              <a:extLst>
                <a:ext uri="{FF2B5EF4-FFF2-40B4-BE49-F238E27FC236}">
                  <a16:creationId xmlns="" xmlns:a16="http://schemas.microsoft.com/office/drawing/2014/main" id="{E7E6EA65-9F08-ED4E-981B-5553E2C22D7C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488">
              <a:extLst>
                <a:ext uri="{FF2B5EF4-FFF2-40B4-BE49-F238E27FC236}">
                  <a16:creationId xmlns="" xmlns:a16="http://schemas.microsoft.com/office/drawing/2014/main" id="{A5D7EC9B-F1AE-FA4E-9829-A0426FEF96DF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489">
              <a:extLst>
                <a:ext uri="{FF2B5EF4-FFF2-40B4-BE49-F238E27FC236}">
                  <a16:creationId xmlns="" xmlns:a16="http://schemas.microsoft.com/office/drawing/2014/main" id="{6D85DC75-BEB3-674E-A21D-F4E88869BD69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490">
              <a:extLst>
                <a:ext uri="{FF2B5EF4-FFF2-40B4-BE49-F238E27FC236}">
                  <a16:creationId xmlns="" xmlns:a16="http://schemas.microsoft.com/office/drawing/2014/main" id="{12626371-A462-384A-8BD7-2685454D5746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491">
              <a:extLst>
                <a:ext uri="{FF2B5EF4-FFF2-40B4-BE49-F238E27FC236}">
                  <a16:creationId xmlns="" xmlns:a16="http://schemas.microsoft.com/office/drawing/2014/main" id="{ACD77200-51B4-2A4D-942F-FDF174A5AFDF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492">
              <a:extLst>
                <a:ext uri="{FF2B5EF4-FFF2-40B4-BE49-F238E27FC236}">
                  <a16:creationId xmlns="" xmlns:a16="http://schemas.microsoft.com/office/drawing/2014/main" id="{3C904C94-1855-E245-8C72-0F83E4D8C16E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493">
              <a:extLst>
                <a:ext uri="{FF2B5EF4-FFF2-40B4-BE49-F238E27FC236}">
                  <a16:creationId xmlns="" xmlns:a16="http://schemas.microsoft.com/office/drawing/2014/main" id="{7569A652-00DC-AE4E-9E4B-3108392BBC5D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494">
              <a:extLst>
                <a:ext uri="{FF2B5EF4-FFF2-40B4-BE49-F238E27FC236}">
                  <a16:creationId xmlns="" xmlns:a16="http://schemas.microsoft.com/office/drawing/2014/main" id="{62BD6FEE-990D-BD4C-9D44-66A0FE24017F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495">
              <a:extLst>
                <a:ext uri="{FF2B5EF4-FFF2-40B4-BE49-F238E27FC236}">
                  <a16:creationId xmlns="" xmlns:a16="http://schemas.microsoft.com/office/drawing/2014/main" id="{F70D1D16-2092-FB46-9A7C-B5A12AC2FF34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496">
              <a:extLst>
                <a:ext uri="{FF2B5EF4-FFF2-40B4-BE49-F238E27FC236}">
                  <a16:creationId xmlns="" xmlns:a16="http://schemas.microsoft.com/office/drawing/2014/main" id="{B1EE420E-2BD8-6E4F-9E51-EFF8547EC088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Freeform 497">
              <a:extLst>
                <a:ext uri="{FF2B5EF4-FFF2-40B4-BE49-F238E27FC236}">
                  <a16:creationId xmlns="" xmlns:a16="http://schemas.microsoft.com/office/drawing/2014/main" id="{0435A533-9E33-B84A-A166-1A0A4273F009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498">
              <a:extLst>
                <a:ext uri="{FF2B5EF4-FFF2-40B4-BE49-F238E27FC236}">
                  <a16:creationId xmlns="" xmlns:a16="http://schemas.microsoft.com/office/drawing/2014/main" id="{DBD91219-0D96-7547-B359-67DA37973A6F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499">
              <a:extLst>
                <a:ext uri="{FF2B5EF4-FFF2-40B4-BE49-F238E27FC236}">
                  <a16:creationId xmlns="" xmlns:a16="http://schemas.microsoft.com/office/drawing/2014/main" id="{956E0529-F680-AF4A-B278-6E4CDA5DF2D6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500">
              <a:extLst>
                <a:ext uri="{FF2B5EF4-FFF2-40B4-BE49-F238E27FC236}">
                  <a16:creationId xmlns="" xmlns:a16="http://schemas.microsoft.com/office/drawing/2014/main" id="{3A614120-81BC-9C45-9FE2-818F31C44727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501">
              <a:extLst>
                <a:ext uri="{FF2B5EF4-FFF2-40B4-BE49-F238E27FC236}">
                  <a16:creationId xmlns="" xmlns:a16="http://schemas.microsoft.com/office/drawing/2014/main" id="{5EF85CBC-22FA-5A45-B537-2E08A86F3761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502">
              <a:extLst>
                <a:ext uri="{FF2B5EF4-FFF2-40B4-BE49-F238E27FC236}">
                  <a16:creationId xmlns="" xmlns:a16="http://schemas.microsoft.com/office/drawing/2014/main" id="{36BEEB17-947B-9244-A691-B80CBE6D0FE0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503">
              <a:extLst>
                <a:ext uri="{FF2B5EF4-FFF2-40B4-BE49-F238E27FC236}">
                  <a16:creationId xmlns="" xmlns:a16="http://schemas.microsoft.com/office/drawing/2014/main" id="{8C1E6B19-DAD9-7447-9568-8FD2B813728D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Line 504">
              <a:extLst>
                <a:ext uri="{FF2B5EF4-FFF2-40B4-BE49-F238E27FC236}">
                  <a16:creationId xmlns="" xmlns:a16="http://schemas.microsoft.com/office/drawing/2014/main" id="{9F2A1252-EE31-3940-9B40-368D239CEFDC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505">
              <a:extLst>
                <a:ext uri="{FF2B5EF4-FFF2-40B4-BE49-F238E27FC236}">
                  <a16:creationId xmlns="" xmlns:a16="http://schemas.microsoft.com/office/drawing/2014/main" id="{6DCB760B-DA2E-434F-8D6E-43E9CB3822C9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506">
              <a:extLst>
                <a:ext uri="{FF2B5EF4-FFF2-40B4-BE49-F238E27FC236}">
                  <a16:creationId xmlns="" xmlns:a16="http://schemas.microsoft.com/office/drawing/2014/main" id="{7D78D76D-4437-3248-9613-3C5B5E937D28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507">
              <a:extLst>
                <a:ext uri="{FF2B5EF4-FFF2-40B4-BE49-F238E27FC236}">
                  <a16:creationId xmlns="" xmlns:a16="http://schemas.microsoft.com/office/drawing/2014/main" id="{AE7E81EB-526B-0A47-A277-D85D12E493D4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508">
              <a:extLst>
                <a:ext uri="{FF2B5EF4-FFF2-40B4-BE49-F238E27FC236}">
                  <a16:creationId xmlns="" xmlns:a16="http://schemas.microsoft.com/office/drawing/2014/main" id="{1F373EB4-58D7-F646-91BA-6B12643A8076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509">
              <a:extLst>
                <a:ext uri="{FF2B5EF4-FFF2-40B4-BE49-F238E27FC236}">
                  <a16:creationId xmlns="" xmlns:a16="http://schemas.microsoft.com/office/drawing/2014/main" id="{2B1D01CF-E691-3649-90F4-9AB8E2AA784D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510">
              <a:extLst>
                <a:ext uri="{FF2B5EF4-FFF2-40B4-BE49-F238E27FC236}">
                  <a16:creationId xmlns="" xmlns:a16="http://schemas.microsoft.com/office/drawing/2014/main" id="{84145C91-3C46-064C-900A-0C0B6FEA08CE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511">
              <a:extLst>
                <a:ext uri="{FF2B5EF4-FFF2-40B4-BE49-F238E27FC236}">
                  <a16:creationId xmlns="" xmlns:a16="http://schemas.microsoft.com/office/drawing/2014/main" id="{C783AA3F-2B70-2946-9E3E-9C64E606F84A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512">
              <a:extLst>
                <a:ext uri="{FF2B5EF4-FFF2-40B4-BE49-F238E27FC236}">
                  <a16:creationId xmlns="" xmlns:a16="http://schemas.microsoft.com/office/drawing/2014/main" id="{42C9DF08-4743-F54E-A4B8-694E75FF9F2F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513">
              <a:extLst>
                <a:ext uri="{FF2B5EF4-FFF2-40B4-BE49-F238E27FC236}">
                  <a16:creationId xmlns="" xmlns:a16="http://schemas.microsoft.com/office/drawing/2014/main" id="{77CA5D73-36A9-6744-9F58-9507032D9731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514">
              <a:extLst>
                <a:ext uri="{FF2B5EF4-FFF2-40B4-BE49-F238E27FC236}">
                  <a16:creationId xmlns="" xmlns:a16="http://schemas.microsoft.com/office/drawing/2014/main" id="{1F9F535C-6FC6-0346-A93C-0BFA14E7574D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515">
              <a:extLst>
                <a:ext uri="{FF2B5EF4-FFF2-40B4-BE49-F238E27FC236}">
                  <a16:creationId xmlns="" xmlns:a16="http://schemas.microsoft.com/office/drawing/2014/main" id="{9FE7C603-0CE8-A742-8933-CFCBBE3BF7EA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516">
              <a:extLst>
                <a:ext uri="{FF2B5EF4-FFF2-40B4-BE49-F238E27FC236}">
                  <a16:creationId xmlns="" xmlns:a16="http://schemas.microsoft.com/office/drawing/2014/main" id="{3B203885-6E0D-8B44-8E3B-C1C6914EFF77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Freeform 517">
              <a:extLst>
                <a:ext uri="{FF2B5EF4-FFF2-40B4-BE49-F238E27FC236}">
                  <a16:creationId xmlns="" xmlns:a16="http://schemas.microsoft.com/office/drawing/2014/main" id="{D43AED06-97F7-7846-8652-98A62D79493D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518">
              <a:extLst>
                <a:ext uri="{FF2B5EF4-FFF2-40B4-BE49-F238E27FC236}">
                  <a16:creationId xmlns="" xmlns:a16="http://schemas.microsoft.com/office/drawing/2014/main" id="{6C04DA1B-F904-964B-A0CB-81E010E9E04E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519">
              <a:extLst>
                <a:ext uri="{FF2B5EF4-FFF2-40B4-BE49-F238E27FC236}">
                  <a16:creationId xmlns="" xmlns:a16="http://schemas.microsoft.com/office/drawing/2014/main" id="{7884C160-D928-C347-8AF5-F5E335E89E54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520">
              <a:extLst>
                <a:ext uri="{FF2B5EF4-FFF2-40B4-BE49-F238E27FC236}">
                  <a16:creationId xmlns="" xmlns:a16="http://schemas.microsoft.com/office/drawing/2014/main" id="{B29F9CB8-79EC-2540-9D2A-BA23ED042E63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521">
              <a:extLst>
                <a:ext uri="{FF2B5EF4-FFF2-40B4-BE49-F238E27FC236}">
                  <a16:creationId xmlns="" xmlns:a16="http://schemas.microsoft.com/office/drawing/2014/main" id="{284080D2-CD78-284A-8228-19ACE67A59AE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522">
              <a:extLst>
                <a:ext uri="{FF2B5EF4-FFF2-40B4-BE49-F238E27FC236}">
                  <a16:creationId xmlns="" xmlns:a16="http://schemas.microsoft.com/office/drawing/2014/main" id="{99100307-CB64-8E4D-BB49-6EE1DC554A9E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523">
              <a:extLst>
                <a:ext uri="{FF2B5EF4-FFF2-40B4-BE49-F238E27FC236}">
                  <a16:creationId xmlns="" xmlns:a16="http://schemas.microsoft.com/office/drawing/2014/main" id="{014ABADA-112F-214E-9893-384B9AB3BF48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75" name="Group 524">
              <a:extLst>
                <a:ext uri="{FF2B5EF4-FFF2-40B4-BE49-F238E27FC236}">
                  <a16:creationId xmlns="" xmlns:a16="http://schemas.microsoft.com/office/drawing/2014/main" id="{C58D6540-8EEA-8E46-8D28-711B4D8D795E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415" name="Freeform 525">
                <a:extLst>
                  <a:ext uri="{FF2B5EF4-FFF2-40B4-BE49-F238E27FC236}">
                    <a16:creationId xmlns="" xmlns:a16="http://schemas.microsoft.com/office/drawing/2014/main" id="{08DB07F0-CC7E-1048-8112-CF287D6788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6" name="Freeform 526">
                <a:extLst>
                  <a:ext uri="{FF2B5EF4-FFF2-40B4-BE49-F238E27FC236}">
                    <a16:creationId xmlns="" xmlns:a16="http://schemas.microsoft.com/office/drawing/2014/main" id="{C49FC46A-CD6A-C54E-A148-786A96F5B9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6" name="Freeform 527">
              <a:extLst>
                <a:ext uri="{FF2B5EF4-FFF2-40B4-BE49-F238E27FC236}">
                  <a16:creationId xmlns="" xmlns:a16="http://schemas.microsoft.com/office/drawing/2014/main" id="{BA7FD211-C1AF-6540-BB9A-D42861A96D1C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7" name="Freeform 528">
              <a:extLst>
                <a:ext uri="{FF2B5EF4-FFF2-40B4-BE49-F238E27FC236}">
                  <a16:creationId xmlns="" xmlns:a16="http://schemas.microsoft.com/office/drawing/2014/main" id="{CC2E6AF7-E6A0-F84E-858F-FAAD99EFF48A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529">
              <a:extLst>
                <a:ext uri="{FF2B5EF4-FFF2-40B4-BE49-F238E27FC236}">
                  <a16:creationId xmlns="" xmlns:a16="http://schemas.microsoft.com/office/drawing/2014/main" id="{878EEA80-3396-664A-9505-84135990F87F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530">
              <a:extLst>
                <a:ext uri="{FF2B5EF4-FFF2-40B4-BE49-F238E27FC236}">
                  <a16:creationId xmlns="" xmlns:a16="http://schemas.microsoft.com/office/drawing/2014/main" id="{429C1B12-659E-354A-9C63-C6990E811D0B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531">
              <a:extLst>
                <a:ext uri="{FF2B5EF4-FFF2-40B4-BE49-F238E27FC236}">
                  <a16:creationId xmlns="" xmlns:a16="http://schemas.microsoft.com/office/drawing/2014/main" id="{901E76DB-8428-B744-8197-72746611FDE3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532">
              <a:extLst>
                <a:ext uri="{FF2B5EF4-FFF2-40B4-BE49-F238E27FC236}">
                  <a16:creationId xmlns="" xmlns:a16="http://schemas.microsoft.com/office/drawing/2014/main" id="{6797962D-9402-B349-BDB4-469F6B8D0654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533">
              <a:extLst>
                <a:ext uri="{FF2B5EF4-FFF2-40B4-BE49-F238E27FC236}">
                  <a16:creationId xmlns="" xmlns:a16="http://schemas.microsoft.com/office/drawing/2014/main" id="{E4881189-76F5-0947-84C1-E35E0031B249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534">
              <a:extLst>
                <a:ext uri="{FF2B5EF4-FFF2-40B4-BE49-F238E27FC236}">
                  <a16:creationId xmlns="" xmlns:a16="http://schemas.microsoft.com/office/drawing/2014/main" id="{7B000032-3E9B-9F41-BA98-7DFA5DFD0819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84" name="Group 535">
              <a:extLst>
                <a:ext uri="{FF2B5EF4-FFF2-40B4-BE49-F238E27FC236}">
                  <a16:creationId xmlns="" xmlns:a16="http://schemas.microsoft.com/office/drawing/2014/main" id="{3404D9D2-780D-7A42-9B0E-DD608C2A31CC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410" name="Freeform 536">
                <a:extLst>
                  <a:ext uri="{FF2B5EF4-FFF2-40B4-BE49-F238E27FC236}">
                    <a16:creationId xmlns="" xmlns:a16="http://schemas.microsoft.com/office/drawing/2014/main" id="{1CE1570D-C094-B649-9A1E-8BA54FF72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1" name="Freeform 537">
                <a:extLst>
                  <a:ext uri="{FF2B5EF4-FFF2-40B4-BE49-F238E27FC236}">
                    <a16:creationId xmlns="" xmlns:a16="http://schemas.microsoft.com/office/drawing/2014/main" id="{3253885B-A278-7645-9CAB-A21A765B0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2" name="Freeform 538">
                <a:extLst>
                  <a:ext uri="{FF2B5EF4-FFF2-40B4-BE49-F238E27FC236}">
                    <a16:creationId xmlns="" xmlns:a16="http://schemas.microsoft.com/office/drawing/2014/main" id="{4BE2D95F-F1A2-7948-B826-1AC8BBF6C7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3" name="Freeform 539">
                <a:extLst>
                  <a:ext uri="{FF2B5EF4-FFF2-40B4-BE49-F238E27FC236}">
                    <a16:creationId xmlns="" xmlns:a16="http://schemas.microsoft.com/office/drawing/2014/main" id="{E4759EDA-2CBB-D44B-A38B-25A929698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4" name="Freeform 540">
                <a:extLst>
                  <a:ext uri="{FF2B5EF4-FFF2-40B4-BE49-F238E27FC236}">
                    <a16:creationId xmlns="" xmlns:a16="http://schemas.microsoft.com/office/drawing/2014/main" id="{C90423AE-68EE-934D-8643-147F38297C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85" name="Freeform 541">
              <a:extLst>
                <a:ext uri="{FF2B5EF4-FFF2-40B4-BE49-F238E27FC236}">
                  <a16:creationId xmlns="" xmlns:a16="http://schemas.microsoft.com/office/drawing/2014/main" id="{458A01A3-0FD9-564E-A499-026CC618006F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6" name="Freeform 542">
              <a:extLst>
                <a:ext uri="{FF2B5EF4-FFF2-40B4-BE49-F238E27FC236}">
                  <a16:creationId xmlns="" xmlns:a16="http://schemas.microsoft.com/office/drawing/2014/main" id="{AA5D9CFB-94BD-2740-BA5C-E561233321B4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543">
              <a:extLst>
                <a:ext uri="{FF2B5EF4-FFF2-40B4-BE49-F238E27FC236}">
                  <a16:creationId xmlns="" xmlns:a16="http://schemas.microsoft.com/office/drawing/2014/main" id="{5CB4DA4F-8D8F-C24D-8B14-501C68F1B695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544">
              <a:extLst>
                <a:ext uri="{FF2B5EF4-FFF2-40B4-BE49-F238E27FC236}">
                  <a16:creationId xmlns="" xmlns:a16="http://schemas.microsoft.com/office/drawing/2014/main" id="{6ED74A9C-D3A7-1044-A419-A34AFC1AEE74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545">
              <a:extLst>
                <a:ext uri="{FF2B5EF4-FFF2-40B4-BE49-F238E27FC236}">
                  <a16:creationId xmlns="" xmlns:a16="http://schemas.microsoft.com/office/drawing/2014/main" id="{956B0ABD-5B9F-4945-A2D1-F4C8C70E543D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546">
              <a:extLst>
                <a:ext uri="{FF2B5EF4-FFF2-40B4-BE49-F238E27FC236}">
                  <a16:creationId xmlns="" xmlns:a16="http://schemas.microsoft.com/office/drawing/2014/main" id="{52EE7522-93B0-814F-9FC3-4EB65D85D58E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547">
              <a:extLst>
                <a:ext uri="{FF2B5EF4-FFF2-40B4-BE49-F238E27FC236}">
                  <a16:creationId xmlns="" xmlns:a16="http://schemas.microsoft.com/office/drawing/2014/main" id="{7F45E82A-E871-6849-A607-7ED30E284E02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548">
              <a:extLst>
                <a:ext uri="{FF2B5EF4-FFF2-40B4-BE49-F238E27FC236}">
                  <a16:creationId xmlns="" xmlns:a16="http://schemas.microsoft.com/office/drawing/2014/main" id="{D951C9FF-6851-FF46-BBB2-DA068F220E1D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549">
              <a:extLst>
                <a:ext uri="{FF2B5EF4-FFF2-40B4-BE49-F238E27FC236}">
                  <a16:creationId xmlns="" xmlns:a16="http://schemas.microsoft.com/office/drawing/2014/main" id="{8697ADBD-4CCB-EB48-9C84-FA2A60C2CFD9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4" name="Freeform 550">
              <a:extLst>
                <a:ext uri="{FF2B5EF4-FFF2-40B4-BE49-F238E27FC236}">
                  <a16:creationId xmlns="" xmlns:a16="http://schemas.microsoft.com/office/drawing/2014/main" id="{61C10B6E-B8F1-FB4F-80CE-A5CAD46E6A4D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5" name="Rectangle 548">
              <a:extLst>
                <a:ext uri="{FF2B5EF4-FFF2-40B4-BE49-F238E27FC236}">
                  <a16:creationId xmlns="" xmlns:a16="http://schemas.microsoft.com/office/drawing/2014/main" id="{111FF66D-A6D5-EC4C-943D-4A1F46024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4521" y="2574882"/>
              <a:ext cx="1332238" cy="437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Assiut University, Upper Egypt </a:t>
              </a:r>
            </a:p>
          </p:txBody>
        </p:sp>
        <p:sp>
          <p:nvSpPr>
            <p:cNvPr id="397" name="Rectangle 550">
              <a:extLst>
                <a:ext uri="{FF2B5EF4-FFF2-40B4-BE49-F238E27FC236}">
                  <a16:creationId xmlns="" xmlns:a16="http://schemas.microsoft.com/office/drawing/2014/main" id="{7D21B566-6FAC-C044-B442-AC6422E502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4141" y="3352800"/>
              <a:ext cx="1520380" cy="596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Obafemi Awolowo University , Ile-Ife, Nigeria </a:t>
              </a:r>
            </a:p>
          </p:txBody>
        </p:sp>
        <p:sp>
          <p:nvSpPr>
            <p:cNvPr id="398" name="Rectangle 551">
              <a:extLst>
                <a:ext uri="{FF2B5EF4-FFF2-40B4-BE49-F238E27FC236}">
                  <a16:creationId xmlns="" xmlns:a16="http://schemas.microsoft.com/office/drawing/2014/main" id="{55CC97F1-90A3-9D49-8D0F-F175BBA7E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3500" y="2968570"/>
              <a:ext cx="1500738" cy="755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African Population and Health Research Center (APHRC), Nairobi, Kenya </a:t>
              </a:r>
            </a:p>
          </p:txBody>
        </p:sp>
        <p:sp>
          <p:nvSpPr>
            <p:cNvPr id="399" name="Rectangle 552">
              <a:extLst>
                <a:ext uri="{FF2B5EF4-FFF2-40B4-BE49-F238E27FC236}">
                  <a16:creationId xmlns="" xmlns:a16="http://schemas.microsoft.com/office/drawing/2014/main" id="{0DA8910B-1753-1249-A887-0529580A67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3876" y="2209800"/>
              <a:ext cx="3146999" cy="437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Shanghai Institute of Planned Parenthood Research, China </a:t>
              </a:r>
            </a:p>
          </p:txBody>
        </p:sp>
        <p:sp>
          <p:nvSpPr>
            <p:cNvPr id="400" name="Rectangle 553">
              <a:extLst>
                <a:ext uri="{FF2B5EF4-FFF2-40B4-BE49-F238E27FC236}">
                  <a16:creationId xmlns="" xmlns:a16="http://schemas.microsoft.com/office/drawing/2014/main" id="{540C0593-186C-C443-A2ED-666FB4FDD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5" y="2782888"/>
              <a:ext cx="2379204" cy="278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Population Council, New Delhi, India </a:t>
              </a:r>
            </a:p>
          </p:txBody>
        </p:sp>
        <p:sp>
          <p:nvSpPr>
            <p:cNvPr id="401" name="Rectangle 554">
              <a:extLst>
                <a:ext uri="{FF2B5EF4-FFF2-40B4-BE49-F238E27FC236}">
                  <a16:creationId xmlns="" xmlns:a16="http://schemas.microsoft.com/office/drawing/2014/main" id="{7E14627F-A537-5A4A-90F2-70FCE3B020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1839" y="4657726"/>
              <a:ext cx="1488040" cy="596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University of the Western Cape, South Africa </a:t>
              </a:r>
            </a:p>
          </p:txBody>
        </p:sp>
        <p:sp>
          <p:nvSpPr>
            <p:cNvPr id="402" name="Rectangle 556">
              <a:extLst>
                <a:ext uri="{FF2B5EF4-FFF2-40B4-BE49-F238E27FC236}">
                  <a16:creationId xmlns="" xmlns:a16="http://schemas.microsoft.com/office/drawing/2014/main" id="{41C933F4-FDF3-BE4C-AF19-07CD9F513E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1888" y="3886200"/>
              <a:ext cx="1183014" cy="755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University of Malawi, Blantyre, Malawi </a:t>
              </a:r>
            </a:p>
          </p:txBody>
        </p:sp>
        <p:sp>
          <p:nvSpPr>
            <p:cNvPr id="403" name="Rectangle 559">
              <a:extLst>
                <a:ext uri="{FF2B5EF4-FFF2-40B4-BE49-F238E27FC236}">
                  <a16:creationId xmlns="" xmlns:a16="http://schemas.microsoft.com/office/drawing/2014/main" id="{84964E9C-6ED0-A240-9D38-F158C02457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3998" y="1816318"/>
              <a:ext cx="1396054" cy="437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r" eaLnBrk="1" hangingPunct="1"/>
              <a:r>
                <a:rPr lang="en-GB" alt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University of St. Andrews, Scotland</a:t>
              </a:r>
              <a:endParaRPr lang="en-US" altLang="en-US" sz="8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404" name="Rectangle 560">
              <a:extLst>
                <a:ext uri="{FF2B5EF4-FFF2-40B4-BE49-F238E27FC236}">
                  <a16:creationId xmlns="" xmlns:a16="http://schemas.microsoft.com/office/drawing/2014/main" id="{ECA469D9-9CF5-8641-AF03-148670A083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4378" y="2100131"/>
              <a:ext cx="1337728" cy="437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GB" alt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Ghent</a:t>
              </a:r>
            </a:p>
            <a:p>
              <a:pPr eaLnBrk="1" hangingPunct="1"/>
              <a:r>
                <a:rPr lang="en-GB" alt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University, Belgium</a:t>
              </a:r>
              <a:endParaRPr lang="en-US" altLang="en-US" sz="8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405" name="Rectangle 561">
              <a:extLst>
                <a:ext uri="{FF2B5EF4-FFF2-40B4-BE49-F238E27FC236}">
                  <a16:creationId xmlns="" xmlns:a16="http://schemas.microsoft.com/office/drawing/2014/main" id="{89EBE856-808A-2142-8620-007FC31227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8594" y="4231680"/>
              <a:ext cx="1577974" cy="437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Institute for Human Development, Bolivia </a:t>
              </a:r>
            </a:p>
          </p:txBody>
        </p:sp>
        <p:sp>
          <p:nvSpPr>
            <p:cNvPr id="406" name="Rectangle 562">
              <a:extLst>
                <a:ext uri="{FF2B5EF4-FFF2-40B4-BE49-F238E27FC236}">
                  <a16:creationId xmlns="" xmlns:a16="http://schemas.microsoft.com/office/drawing/2014/main" id="{0E59FEA7-455F-5648-986B-29F61A4BF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9530" y="3652162"/>
              <a:ext cx="1577974" cy="278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8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University of Cuenca</a:t>
              </a:r>
              <a:endParaRPr lang="en-US" altLang="en-US" sz="8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407" name="Rectangle 563">
              <a:extLst>
                <a:ext uri="{FF2B5EF4-FFF2-40B4-BE49-F238E27FC236}">
                  <a16:creationId xmlns="" xmlns:a16="http://schemas.microsoft.com/office/drawing/2014/main" id="{398E39B8-D795-F142-902D-B26C0B1A07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4141" y="3952789"/>
              <a:ext cx="1916258" cy="2782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University of Kinshasa, DRC </a:t>
              </a:r>
            </a:p>
          </p:txBody>
        </p:sp>
        <p:sp>
          <p:nvSpPr>
            <p:cNvPr id="408" name="Rectangle 564">
              <a:extLst>
                <a:ext uri="{FF2B5EF4-FFF2-40B4-BE49-F238E27FC236}">
                  <a16:creationId xmlns="" xmlns:a16="http://schemas.microsoft.com/office/drawing/2014/main" id="{AC5D8D6F-46D6-4448-9D33-3DE2BBC7C8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4600" y="2782888"/>
              <a:ext cx="1681163" cy="596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University of Ouagadougou, Burkina Faso </a:t>
              </a:r>
            </a:p>
          </p:txBody>
        </p:sp>
        <p:sp>
          <p:nvSpPr>
            <p:cNvPr id="409" name="Rectangle 565">
              <a:extLst>
                <a:ext uri="{FF2B5EF4-FFF2-40B4-BE49-F238E27FC236}">
                  <a16:creationId xmlns="" xmlns:a16="http://schemas.microsoft.com/office/drawing/2014/main" id="{964C392C-E721-1D45-91DA-370C890D52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9400" y="3124199"/>
              <a:ext cx="3391476" cy="437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sz="8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Academy of Social Sciences Institute for Sociology, Hanoi, Vietnam </a:t>
              </a:r>
            </a:p>
          </p:txBody>
        </p:sp>
      </p:grpSp>
      <p:sp>
        <p:nvSpPr>
          <p:cNvPr id="576" name="Rectangle 565">
            <a:extLst>
              <a:ext uri="{FF2B5EF4-FFF2-40B4-BE49-F238E27FC236}">
                <a16:creationId xmlns="" xmlns:a16="http://schemas.microsoft.com/office/drawing/2014/main" id="{F56F9164-B071-7842-819A-00B70A4422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59287" y="2857492"/>
            <a:ext cx="271964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sz="800" dirty="0" err="1">
                <a:solidFill>
                  <a:srgbClr val="113951"/>
                </a:solidFill>
                <a:latin typeface="Avenir Roman" panose="02000503020000020003" pitchFamily="2" charset="0"/>
              </a:rPr>
              <a:t>Universitas</a:t>
            </a:r>
            <a:r>
              <a:rPr lang="en-US" sz="800" dirty="0">
                <a:solidFill>
                  <a:srgbClr val="113951"/>
                </a:solidFill>
                <a:latin typeface="Avenir Roman" panose="02000503020000020003" pitchFamily="2" charset="0"/>
              </a:rPr>
              <a:t> </a:t>
            </a:r>
            <a:r>
              <a:rPr lang="en-US" sz="800" dirty="0" err="1">
                <a:solidFill>
                  <a:srgbClr val="113951"/>
                </a:solidFill>
                <a:latin typeface="Avenir Roman" panose="02000503020000020003" pitchFamily="2" charset="0"/>
              </a:rPr>
              <a:t>Gadja</a:t>
            </a:r>
            <a:r>
              <a:rPr lang="en-US" sz="800" dirty="0">
                <a:solidFill>
                  <a:srgbClr val="113951"/>
                </a:solidFill>
                <a:latin typeface="Avenir Roman" panose="02000503020000020003" pitchFamily="2" charset="0"/>
              </a:rPr>
              <a:t> </a:t>
            </a:r>
            <a:r>
              <a:rPr lang="en-US" sz="800" dirty="0" err="1">
                <a:solidFill>
                  <a:srgbClr val="113951"/>
                </a:solidFill>
                <a:latin typeface="Avenir Roman" panose="02000503020000020003" pitchFamily="2" charset="0"/>
              </a:rPr>
              <a:t>Mada</a:t>
            </a:r>
            <a:r>
              <a:rPr lang="en-US" sz="800" dirty="0">
                <a:solidFill>
                  <a:srgbClr val="113951"/>
                </a:solidFill>
                <a:latin typeface="Avenir Roman" panose="02000503020000020003" pitchFamily="2" charset="0"/>
              </a:rPr>
              <a:t>, Indonesia</a:t>
            </a:r>
          </a:p>
        </p:txBody>
      </p:sp>
      <p:sp>
        <p:nvSpPr>
          <p:cNvPr id="577" name="Rectangle 560">
            <a:extLst>
              <a:ext uri="{FF2B5EF4-FFF2-40B4-BE49-F238E27FC236}">
                <a16:creationId xmlns="" xmlns:a16="http://schemas.microsoft.com/office/drawing/2014/main" id="{7FAF1F62-FBFB-A542-A4F3-48A935E42F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97087" y="1143000"/>
            <a:ext cx="116730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800" dirty="0">
                <a:solidFill>
                  <a:srgbClr val="113951"/>
                </a:solidFill>
                <a:latin typeface="Avenir Roman" panose="02000503020000020003" pitchFamily="2" charset="0"/>
              </a:rPr>
              <a:t>Rutgers, Netherlands</a:t>
            </a:r>
            <a:endParaRPr lang="en-US" altLang="en-US" sz="8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sp>
        <p:nvSpPr>
          <p:cNvPr id="578" name="Rectangle 560">
            <a:extLst>
              <a:ext uri="{FF2B5EF4-FFF2-40B4-BE49-F238E27FC236}">
                <a16:creationId xmlns="" xmlns:a16="http://schemas.microsoft.com/office/drawing/2014/main" id="{F6D868D4-3208-DC44-9699-F2EF98041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88267" y="1760813"/>
            <a:ext cx="105622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/>
            <a:r>
              <a:rPr lang="en-GB" altLang="en-US" sz="800" dirty="0">
                <a:solidFill>
                  <a:srgbClr val="113951"/>
                </a:solidFill>
                <a:latin typeface="Avenir Roman" panose="02000503020000020003" pitchFamily="2" charset="0"/>
              </a:rPr>
              <a:t>Institute of Women and Ethnic Studies, USA</a:t>
            </a:r>
            <a:endParaRPr lang="en-US" altLang="en-US" sz="8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sp>
        <p:nvSpPr>
          <p:cNvPr id="581" name="Rectangle 580">
            <a:extLst>
              <a:ext uri="{FF2B5EF4-FFF2-40B4-BE49-F238E27FC236}">
                <a16:creationId xmlns="" xmlns:a16="http://schemas.microsoft.com/office/drawing/2014/main" id="{FAFE49CA-63F7-6640-B53D-5D97D74FF934}"/>
              </a:ext>
            </a:extLst>
          </p:cNvPr>
          <p:cNvSpPr/>
          <p:nvPr/>
        </p:nvSpPr>
        <p:spPr>
          <a:xfrm>
            <a:off x="121201" y="5004817"/>
            <a:ext cx="2708814" cy="637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8FCC5A4-E462-284E-9DC8-F6C8588123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49" y="762000"/>
            <a:ext cx="7886700" cy="1325563"/>
          </a:xfrm>
        </p:spPr>
        <p:txBody>
          <a:bodyPr/>
          <a:lstStyle/>
          <a:p>
            <a:pPr algn="ctr"/>
            <a:r>
              <a:rPr lang="en-US" sz="7200" dirty="0">
                <a:solidFill>
                  <a:srgbClr val="113951"/>
                </a:solidFill>
                <a:latin typeface="Avenir Roman" panose="02000503020000020003" pitchFamily="2" charset="0"/>
              </a:rPr>
              <a:t>Thank you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CA21A892-C355-EE47-93F9-9B85743E386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1387" b="19999"/>
          <a:stretch/>
        </p:blipFill>
        <p:spPr>
          <a:xfrm>
            <a:off x="2881924" y="2667000"/>
            <a:ext cx="3380151" cy="19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16309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89" name="Group 24">
            <a:extLst>
              <a:ext uri="{FF2B5EF4-FFF2-40B4-BE49-F238E27FC236}">
                <a16:creationId xmlns="" xmlns:a16="http://schemas.microsoft.com/office/drawing/2014/main" id="{96E2EDC2-0799-E44C-8EC1-B635F9B1248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2290" name="Group 25">
            <a:extLst>
              <a:ext uri="{FF2B5EF4-FFF2-40B4-BE49-F238E27FC236}">
                <a16:creationId xmlns="" xmlns:a16="http://schemas.microsoft.com/office/drawing/2014/main" id="{184EFAB7-17D9-8F4C-936E-9BB478C323A6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2291" name="Group 28">
            <a:extLst>
              <a:ext uri="{FF2B5EF4-FFF2-40B4-BE49-F238E27FC236}">
                <a16:creationId xmlns="" xmlns:a16="http://schemas.microsoft.com/office/drawing/2014/main" id="{49FE7A68-A31D-AB47-B11C-832617541DDB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2292" name="Group 34">
            <a:extLst>
              <a:ext uri="{FF2B5EF4-FFF2-40B4-BE49-F238E27FC236}">
                <a16:creationId xmlns="" xmlns:a16="http://schemas.microsoft.com/office/drawing/2014/main" id="{1517AB74-B196-884C-A341-9CAE8C387CF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pic>
        <p:nvPicPr>
          <p:cNvPr id="12293" name="Picture 14">
            <a:extLst>
              <a:ext uri="{FF2B5EF4-FFF2-40B4-BE49-F238E27FC236}">
                <a16:creationId xmlns="" xmlns:a16="http://schemas.microsoft.com/office/drawing/2014/main" id="{F47D4881-3D87-6440-8C1C-47C60EE94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09" b="40450"/>
          <a:stretch>
            <a:fillRect/>
          </a:stretch>
        </p:blipFill>
        <p:spPr bwMode="auto">
          <a:xfrm>
            <a:off x="0" y="1447800"/>
            <a:ext cx="2073275" cy="176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4" name="TextBox 1">
            <a:extLst>
              <a:ext uri="{FF2B5EF4-FFF2-40B4-BE49-F238E27FC236}">
                <a16:creationId xmlns="" xmlns:a16="http://schemas.microsoft.com/office/drawing/2014/main" id="{B8EC2381-DDDF-1048-88B0-1E444E8DC0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7363" y="3190875"/>
            <a:ext cx="3551237" cy="193899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WHY 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EARLY </a:t>
            </a:r>
            <a:r>
              <a:rPr lang="en-US" altLang="en-US" sz="3000" b="1" dirty="0" smtClean="0">
                <a:solidFill>
                  <a:srgbClr val="F06C45"/>
                </a:solidFill>
                <a:latin typeface="Bookman Old Style" panose="02050604050505020204" pitchFamily="18" charset="0"/>
              </a:rPr>
              <a:t>ADOLESCENCE AND GENDER?</a:t>
            </a:r>
            <a:endParaRPr lang="en-US" altLang="en-US" sz="3000" b="1" dirty="0">
              <a:solidFill>
                <a:srgbClr val="F06C45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296D8CD-1EAE-4940-9776-AA726306FCDB}"/>
              </a:ext>
            </a:extLst>
          </p:cNvPr>
          <p:cNvSpPr txBox="1"/>
          <p:nvPr/>
        </p:nvSpPr>
        <p:spPr>
          <a:xfrm>
            <a:off x="3810000" y="546100"/>
            <a:ext cx="5203827" cy="68403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200" dirty="0">
                <a:solidFill>
                  <a:srgbClr val="113951"/>
                </a:solidFill>
                <a:latin typeface="Avenir Roman" panose="02000503020000020003" pitchFamily="2" charset="0"/>
              </a:rPr>
              <a:t>Solidification of gender norms and roles</a:t>
            </a:r>
          </a:p>
          <a:p>
            <a:pPr marL="342900" lvl="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200" dirty="0"/>
              <a:t>Experiences of gender-based violence and Interpersonal Violence Increase starting at age 10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200" dirty="0"/>
              <a:t>With the onset of puberty in early adolescence experiences of FGM/C and child marriage </a:t>
            </a:r>
            <a:r>
              <a:rPr lang="en-US" sz="2200" dirty="0" smtClean="0"/>
              <a:t>also increase.</a:t>
            </a:r>
          </a:p>
          <a:p>
            <a:pPr marL="342900" lvl="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200" dirty="0"/>
              <a:t>The gender solidification hypothesis indicates that there is a greater opportunity for gender equality in childhood and early adolescence, but attitudes solidify by approximately age 16</a:t>
            </a:r>
            <a:r>
              <a:rPr lang="en-US" sz="2200" dirty="0" smtClean="0"/>
              <a:t>.</a:t>
            </a:r>
          </a:p>
          <a:p>
            <a:pPr marL="342900" lvl="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200" dirty="0" smtClean="0"/>
              <a:t>Both boys and girls are harmed by gender inequalities.</a:t>
            </a:r>
            <a:endParaRPr lang="en-US" sz="2200" dirty="0"/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89" name="Group 24">
            <a:extLst>
              <a:ext uri="{FF2B5EF4-FFF2-40B4-BE49-F238E27FC236}">
                <a16:creationId xmlns="" xmlns:a16="http://schemas.microsoft.com/office/drawing/2014/main" id="{96E2EDC2-0799-E44C-8EC1-B635F9B1248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2290" name="Group 25">
            <a:extLst>
              <a:ext uri="{FF2B5EF4-FFF2-40B4-BE49-F238E27FC236}">
                <a16:creationId xmlns="" xmlns:a16="http://schemas.microsoft.com/office/drawing/2014/main" id="{184EFAB7-17D9-8F4C-936E-9BB478C323A6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2291" name="Group 28">
            <a:extLst>
              <a:ext uri="{FF2B5EF4-FFF2-40B4-BE49-F238E27FC236}">
                <a16:creationId xmlns="" xmlns:a16="http://schemas.microsoft.com/office/drawing/2014/main" id="{49FE7A68-A31D-AB47-B11C-832617541DDB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2292" name="Group 34">
            <a:extLst>
              <a:ext uri="{FF2B5EF4-FFF2-40B4-BE49-F238E27FC236}">
                <a16:creationId xmlns="" xmlns:a16="http://schemas.microsoft.com/office/drawing/2014/main" id="{1517AB74-B196-884C-A341-9CAE8C387CF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pic>
        <p:nvPicPr>
          <p:cNvPr id="12293" name="Picture 14">
            <a:extLst>
              <a:ext uri="{FF2B5EF4-FFF2-40B4-BE49-F238E27FC236}">
                <a16:creationId xmlns="" xmlns:a16="http://schemas.microsoft.com/office/drawing/2014/main" id="{F47D4881-3D87-6440-8C1C-47C60EE94A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09" b="40450"/>
          <a:stretch>
            <a:fillRect/>
          </a:stretch>
        </p:blipFill>
        <p:spPr bwMode="auto">
          <a:xfrm>
            <a:off x="0" y="1447800"/>
            <a:ext cx="2073275" cy="176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4" name="TextBox 1">
            <a:extLst>
              <a:ext uri="{FF2B5EF4-FFF2-40B4-BE49-F238E27FC236}">
                <a16:creationId xmlns="" xmlns:a16="http://schemas.microsoft.com/office/drawing/2014/main" id="{B8EC2381-DDDF-1048-88B0-1E444E8DC0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8" y="3190875"/>
            <a:ext cx="4360864" cy="10156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smtClean="0">
                <a:solidFill>
                  <a:srgbClr val="F06C45"/>
                </a:solidFill>
                <a:latin typeface="Bookman Old Style" panose="02050604050505020204" pitchFamily="18" charset="0"/>
              </a:rPr>
              <a:t>CONTEXTS AND GENDER INTERACT</a:t>
            </a:r>
            <a:endParaRPr lang="en-US" altLang="en-US" sz="3000" b="1" dirty="0">
              <a:solidFill>
                <a:srgbClr val="F06C45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C296D8CD-1EAE-4940-9776-AA726306FCDB}"/>
              </a:ext>
            </a:extLst>
          </p:cNvPr>
          <p:cNvSpPr txBox="1"/>
          <p:nvPr/>
        </p:nvSpPr>
        <p:spPr>
          <a:xfrm>
            <a:off x="4038600" y="546100"/>
            <a:ext cx="4975227" cy="49244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Gender roles </a:t>
            </a: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starts to expand at about age 10</a:t>
            </a:r>
          </a:p>
          <a:p>
            <a:pPr marL="342900" lvl="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Institutions such as the education system and faith organizations tend to reinforce gender inequalities.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Poverty exacerbates gender inequalities as young people compete for scarce resources.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Rigidity of social norms are inverse to education.</a:t>
            </a:r>
            <a:endParaRPr lang="en-US" sz="2400" dirty="0" smtClean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24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5855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3" name="Group 24">
            <a:extLst>
              <a:ext uri="{FF2B5EF4-FFF2-40B4-BE49-F238E27FC236}">
                <a16:creationId xmlns="" xmlns:a16="http://schemas.microsoft.com/office/drawing/2014/main" id="{88452645-0C3D-C149-94BB-28BF39EAA9C0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3315" name="Group 25">
            <a:extLst>
              <a:ext uri="{FF2B5EF4-FFF2-40B4-BE49-F238E27FC236}">
                <a16:creationId xmlns="" xmlns:a16="http://schemas.microsoft.com/office/drawing/2014/main" id="{52A4BA59-8769-1841-AA6E-7872251A694E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3316" name="Group 28">
            <a:extLst>
              <a:ext uri="{FF2B5EF4-FFF2-40B4-BE49-F238E27FC236}">
                <a16:creationId xmlns="" xmlns:a16="http://schemas.microsoft.com/office/drawing/2014/main" id="{863EAA03-A4CE-1745-A1B4-EF62C2B2D6A2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3317" name="Group 34">
            <a:extLst>
              <a:ext uri="{FF2B5EF4-FFF2-40B4-BE49-F238E27FC236}">
                <a16:creationId xmlns="" xmlns:a16="http://schemas.microsoft.com/office/drawing/2014/main" id="{9F1D4F77-D343-0842-B754-EB44128EC348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46245DA-0398-C14F-8650-1F9684768354}"/>
              </a:ext>
            </a:extLst>
          </p:cNvPr>
          <p:cNvSpPr txBox="1"/>
          <p:nvPr/>
        </p:nvSpPr>
        <p:spPr>
          <a:xfrm>
            <a:off x="3276600" y="1676400"/>
            <a:ext cx="5105400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defRPr/>
            </a:pPr>
            <a:r>
              <a:rPr lang="en-US" sz="3600" b="1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THE GLOBAL EARLY ADOLESCENT STUDY</a:t>
            </a:r>
            <a:endParaRPr lang="en-US" sz="3600" b="1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1923"/>
            <a:ext cx="3429000" cy="35066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3" name="Group 24">
            <a:extLst>
              <a:ext uri="{FF2B5EF4-FFF2-40B4-BE49-F238E27FC236}">
                <a16:creationId xmlns="" xmlns:a16="http://schemas.microsoft.com/office/drawing/2014/main" id="{88452645-0C3D-C149-94BB-28BF39EAA9C0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pic>
        <p:nvPicPr>
          <p:cNvPr id="13314" name="Picture 18">
            <a:extLst>
              <a:ext uri="{FF2B5EF4-FFF2-40B4-BE49-F238E27FC236}">
                <a16:creationId xmlns="" xmlns:a16="http://schemas.microsoft.com/office/drawing/2014/main" id="{F52CAB3E-02A1-0B41-90D8-8968AC13E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88" y="1752600"/>
            <a:ext cx="2362200" cy="363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315" name="Group 25">
            <a:extLst>
              <a:ext uri="{FF2B5EF4-FFF2-40B4-BE49-F238E27FC236}">
                <a16:creationId xmlns="" xmlns:a16="http://schemas.microsoft.com/office/drawing/2014/main" id="{52A4BA59-8769-1841-AA6E-7872251A694E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3316" name="Group 28">
            <a:extLst>
              <a:ext uri="{FF2B5EF4-FFF2-40B4-BE49-F238E27FC236}">
                <a16:creationId xmlns="" xmlns:a16="http://schemas.microsoft.com/office/drawing/2014/main" id="{863EAA03-A4CE-1745-A1B4-EF62C2B2D6A2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3317" name="Group 34">
            <a:extLst>
              <a:ext uri="{FF2B5EF4-FFF2-40B4-BE49-F238E27FC236}">
                <a16:creationId xmlns="" xmlns:a16="http://schemas.microsoft.com/office/drawing/2014/main" id="{9F1D4F77-D343-0842-B754-EB44128EC348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46245DA-0398-C14F-8650-1F9684768354}"/>
              </a:ext>
            </a:extLst>
          </p:cNvPr>
          <p:cNvSpPr txBox="1"/>
          <p:nvPr/>
        </p:nvSpPr>
        <p:spPr>
          <a:xfrm>
            <a:off x="3276600" y="1676400"/>
            <a:ext cx="5105400" cy="3624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The GEAS seeks to understand the factors in adolescence that shape healthy development in the adolescent years.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Longitudinal research study  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Global comparison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Evaluating the impact of gender transformative interventions</a:t>
            </a:r>
          </a:p>
        </p:txBody>
      </p:sp>
    </p:spTree>
    <p:extLst>
      <p:ext uri="{BB962C8B-B14F-4D97-AF65-F5344CB8AC3E}">
        <p14:creationId xmlns:p14="http://schemas.microsoft.com/office/powerpoint/2010/main" val="56970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">
            <a:extLst>
              <a:ext uri="{FF2B5EF4-FFF2-40B4-BE49-F238E27FC236}">
                <a16:creationId xmlns="" xmlns:a16="http://schemas.microsoft.com/office/drawing/2014/main" id="{4458D5ED-74EB-A345-A646-034CEEFB30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25" y="2895600"/>
            <a:ext cx="3551237" cy="10156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KEY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OUTCOM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id="{68497573-003A-DA42-AAA0-D45AFAF30C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75952" b="50132"/>
          <a:stretch/>
        </p:blipFill>
        <p:spPr>
          <a:xfrm>
            <a:off x="3469055" y="707570"/>
            <a:ext cx="1592318" cy="22098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A8E27ADB-5940-EC43-B885-18CE198F93F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706" r="40278" b="51852"/>
          <a:stretch/>
        </p:blipFill>
        <p:spPr>
          <a:xfrm>
            <a:off x="6256791" y="707570"/>
            <a:ext cx="1524000" cy="21336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99C2CB2-A1D4-E845-8CE4-9ACDF5CCF5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230" b="51852"/>
          <a:stretch/>
        </p:blipFill>
        <p:spPr>
          <a:xfrm>
            <a:off x="4711020" y="2844462"/>
            <a:ext cx="1904999" cy="21336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442048A9-40F8-504C-84D2-73604CC1A5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444" t="53307" r="60992" b="2550"/>
          <a:stretch/>
        </p:blipFill>
        <p:spPr>
          <a:xfrm>
            <a:off x="3568019" y="4648200"/>
            <a:ext cx="1295400" cy="195613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4957FDAC-3F05-A24C-B092-90057371D50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968" t="61905" r="18413" b="1984"/>
          <a:stretch/>
        </p:blipFill>
        <p:spPr>
          <a:xfrm>
            <a:off x="6082619" y="4978063"/>
            <a:ext cx="1828800" cy="1600200"/>
          </a:xfrm>
          <a:prstGeom prst="rect">
            <a:avLst/>
          </a:prstGeom>
        </p:spPr>
      </p:pic>
      <p:grpSp>
        <p:nvGrpSpPr>
          <p:cNvPr id="11" name="Group 24">
            <a:extLst>
              <a:ext uri="{FF2B5EF4-FFF2-40B4-BE49-F238E27FC236}">
                <a16:creationId xmlns="" xmlns:a16="http://schemas.microsoft.com/office/drawing/2014/main" id="{774A1DBF-2512-9048-9077-71270FCB9BA9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D33A4EED-665B-8F42-8B5A-401C402ACA6B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3" name="TextBox 12">
              <a:extLst>
                <a:ext uri="{FF2B5EF4-FFF2-40B4-BE49-F238E27FC236}">
                  <a16:creationId xmlns="" xmlns:a16="http://schemas.microsoft.com/office/drawing/2014/main" id="{3C7B07BD-42CF-6845-A225-0A3045C7B06F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4" name="Group 25">
            <a:extLst>
              <a:ext uri="{FF2B5EF4-FFF2-40B4-BE49-F238E27FC236}">
                <a16:creationId xmlns="" xmlns:a16="http://schemas.microsoft.com/office/drawing/2014/main" id="{976B9C31-89ED-9E4E-ACC4-2559C36A12B8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15" name="Rectangle 14">
              <a:extLst>
                <a:ext uri="{FF2B5EF4-FFF2-40B4-BE49-F238E27FC236}">
                  <a16:creationId xmlns="" xmlns:a16="http://schemas.microsoft.com/office/drawing/2014/main" id="{2CD8AF44-CD3E-CF44-8090-40A3ED741AAC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6" name="TextBox 15">
              <a:extLst>
                <a:ext uri="{FF2B5EF4-FFF2-40B4-BE49-F238E27FC236}">
                  <a16:creationId xmlns="" xmlns:a16="http://schemas.microsoft.com/office/drawing/2014/main" id="{B3EBC47F-135D-7241-A735-6A2BD31875AE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7" name="Group 28">
            <a:extLst>
              <a:ext uri="{FF2B5EF4-FFF2-40B4-BE49-F238E27FC236}">
                <a16:creationId xmlns="" xmlns:a16="http://schemas.microsoft.com/office/drawing/2014/main" id="{D6271448-4AF4-6941-97D1-A6BF8F96969A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4FFEC4DD-9E76-2C46-B552-AC3AD5E5D3F8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A1F70FC1-21A9-CC47-90F6-99B42B779F94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20" name="Group 34">
            <a:extLst>
              <a:ext uri="{FF2B5EF4-FFF2-40B4-BE49-F238E27FC236}">
                <a16:creationId xmlns="" xmlns:a16="http://schemas.microsoft.com/office/drawing/2014/main" id="{6C6E015F-02F1-6A46-8A7E-31A4B48FE8E6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92436C7F-1F05-C94D-B659-889C0328CBF9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="" xmlns:a16="http://schemas.microsoft.com/office/drawing/2014/main" id="{26D4DA90-A055-9945-A445-CF0C884A450B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7" name="Group 24">
            <a:extLst>
              <a:ext uri="{FF2B5EF4-FFF2-40B4-BE49-F238E27FC236}">
                <a16:creationId xmlns="" xmlns:a16="http://schemas.microsoft.com/office/drawing/2014/main" id="{9330B193-C85B-5040-B97F-0ECBA81D4F4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113951">
                <a:alpha val="8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4338" name="Group 25">
            <a:extLst>
              <a:ext uri="{FF2B5EF4-FFF2-40B4-BE49-F238E27FC236}">
                <a16:creationId xmlns="" xmlns:a16="http://schemas.microsoft.com/office/drawing/2014/main" id="{972FA35B-C9E5-334C-8DD8-73AA35577CEC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4339" name="Group 28">
            <a:extLst>
              <a:ext uri="{FF2B5EF4-FFF2-40B4-BE49-F238E27FC236}">
                <a16:creationId xmlns="" xmlns:a16="http://schemas.microsoft.com/office/drawing/2014/main" id="{1480B5FF-633D-EC4C-BCE3-4524C5E5E748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4340" name="Group 34">
            <a:extLst>
              <a:ext uri="{FF2B5EF4-FFF2-40B4-BE49-F238E27FC236}">
                <a16:creationId xmlns="" xmlns:a16="http://schemas.microsoft.com/office/drawing/2014/main" id="{806764C2-BB61-4443-B17C-669D60BB937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46245DA-0398-C14F-8650-1F9684768354}"/>
              </a:ext>
            </a:extLst>
          </p:cNvPr>
          <p:cNvSpPr txBox="1"/>
          <p:nvPr/>
        </p:nvSpPr>
        <p:spPr>
          <a:xfrm>
            <a:off x="4800599" y="1066801"/>
            <a:ext cx="4213227" cy="549381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Three measures: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Ten module health </a:t>
            </a: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instrument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Health: physical, mental and sexual health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Contexts: family, peers, school, community, adversitie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Empowerment, interpersonal and gender based violence</a:t>
            </a:r>
            <a:endParaRPr lang="en-US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Gender Norms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113951"/>
                </a:solidFill>
                <a:latin typeface="Avenir Roman" panose="02000503020000020003" pitchFamily="2" charset="0"/>
              </a:rPr>
              <a:t>Vignettes-based measure of gender </a:t>
            </a:r>
            <a:r>
              <a:rPr lang="en-US" sz="2400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equality in relationships</a:t>
            </a:r>
            <a:endParaRPr lang="en-US" sz="2400" dirty="0">
              <a:solidFill>
                <a:srgbClr val="113951"/>
              </a:solidFill>
              <a:latin typeface="Avenir Roman" panose="02000503020000020003" pitchFamily="2" charset="0"/>
            </a:endParaRPr>
          </a:p>
        </p:txBody>
      </p:sp>
      <p:pic>
        <p:nvPicPr>
          <p:cNvPr id="14342" name="Picture 6">
            <a:extLst>
              <a:ext uri="{FF2B5EF4-FFF2-40B4-BE49-F238E27FC236}">
                <a16:creationId xmlns="" xmlns:a16="http://schemas.microsoft.com/office/drawing/2014/main" id="{0E79DA68-5742-3746-B31B-198DCBF649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08" y="130360"/>
            <a:ext cx="3038699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B690B05A-6E49-2340-90BC-78B94E5A5F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130" y="2743200"/>
            <a:ext cx="3991720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7" name="Group 24">
            <a:extLst>
              <a:ext uri="{FF2B5EF4-FFF2-40B4-BE49-F238E27FC236}">
                <a16:creationId xmlns="" xmlns:a16="http://schemas.microsoft.com/office/drawing/2014/main" id="{9330B193-C85B-5040-B97F-0ECBA81D4F46}"/>
              </a:ext>
            </a:extLst>
          </p:cNvPr>
          <p:cNvGrpSpPr>
            <a:grpSpLocks/>
          </p:cNvGrpSpPr>
          <p:nvPr/>
        </p:nvGrpSpPr>
        <p:grpSpPr bwMode="auto">
          <a:xfrm>
            <a:off x="-76200" y="130175"/>
            <a:ext cx="2406650" cy="360363"/>
            <a:chOff x="154184" y="1981200"/>
            <a:chExt cx="838200" cy="722586"/>
          </a:xfrm>
        </p:grpSpPr>
        <p:sp>
          <p:nvSpPr>
            <p:cNvPr id="5" name="Rectangle 4">
              <a:extLst>
                <a:ext uri="{FF2B5EF4-FFF2-40B4-BE49-F238E27FC236}">
                  <a16:creationId xmlns="" xmlns:a16="http://schemas.microsoft.com/office/drawing/2014/main" id="{8B0AA04D-63E6-4745-8497-FE68B6148C1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bg2">
                <a:lumMod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A8F38D9D-0C37-5D4F-8153-DE4407146A83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Study Overview</a:t>
              </a:r>
            </a:p>
          </p:txBody>
        </p:sp>
      </p:grpSp>
      <p:grpSp>
        <p:nvGrpSpPr>
          <p:cNvPr id="14338" name="Group 25">
            <a:extLst>
              <a:ext uri="{FF2B5EF4-FFF2-40B4-BE49-F238E27FC236}">
                <a16:creationId xmlns="" xmlns:a16="http://schemas.microsoft.com/office/drawing/2014/main" id="{972FA35B-C9E5-334C-8DD8-73AA35577CEC}"/>
              </a:ext>
            </a:extLst>
          </p:cNvPr>
          <p:cNvGrpSpPr>
            <a:grpSpLocks/>
          </p:cNvGrpSpPr>
          <p:nvPr/>
        </p:nvGrpSpPr>
        <p:grpSpPr bwMode="auto">
          <a:xfrm>
            <a:off x="2211388" y="128588"/>
            <a:ext cx="2406650" cy="360362"/>
            <a:chOff x="154184" y="1981200"/>
            <a:chExt cx="838200" cy="722586"/>
          </a:xfrm>
        </p:grpSpPr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C29BD9DB-6F08-6F48-BC74-94BB08C2EB3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rgbClr val="D8E0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DB3FEA37-D489-1445-A696-06F9B703BE21}"/>
                </a:ext>
              </a:extLst>
            </p:cNvPr>
            <p:cNvSpPr txBox="1"/>
            <p:nvPr/>
          </p:nvSpPr>
          <p:spPr>
            <a:xfrm>
              <a:off x="154184" y="2095797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rgbClr val="113A51"/>
                  </a:solidFill>
                  <a:latin typeface="Avenir Roman" panose="02000503020000020003" pitchFamily="2" charset="0"/>
                </a:rPr>
                <a:t>Formative Research</a:t>
              </a:r>
            </a:p>
          </p:txBody>
        </p:sp>
      </p:grpSp>
      <p:grpSp>
        <p:nvGrpSpPr>
          <p:cNvPr id="14339" name="Group 28">
            <a:extLst>
              <a:ext uri="{FF2B5EF4-FFF2-40B4-BE49-F238E27FC236}">
                <a16:creationId xmlns="" xmlns:a16="http://schemas.microsoft.com/office/drawing/2014/main" id="{1480B5FF-633D-EC4C-BCE3-4524C5E5E748}"/>
              </a:ext>
            </a:extLst>
          </p:cNvPr>
          <p:cNvGrpSpPr>
            <a:grpSpLocks/>
          </p:cNvGrpSpPr>
          <p:nvPr/>
        </p:nvGrpSpPr>
        <p:grpSpPr bwMode="auto">
          <a:xfrm>
            <a:off x="4492625" y="128588"/>
            <a:ext cx="2406650" cy="360362"/>
            <a:chOff x="154184" y="1981200"/>
            <a:chExt cx="838200" cy="722586"/>
          </a:xfrm>
        </p:grpSpPr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75154CB-CBA7-5742-8CC3-4D37BF35DE5D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18A03438-A1BA-5741-889A-113E5F3FA9F8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Longitudinal Research</a:t>
              </a:r>
            </a:p>
          </p:txBody>
        </p:sp>
      </p:grpSp>
      <p:grpSp>
        <p:nvGrpSpPr>
          <p:cNvPr id="14340" name="Group 34">
            <a:extLst>
              <a:ext uri="{FF2B5EF4-FFF2-40B4-BE49-F238E27FC236}">
                <a16:creationId xmlns="" xmlns:a16="http://schemas.microsoft.com/office/drawing/2014/main" id="{806764C2-BB61-4443-B17C-669D60BB9379}"/>
              </a:ext>
            </a:extLst>
          </p:cNvPr>
          <p:cNvGrpSpPr>
            <a:grpSpLocks/>
          </p:cNvGrpSpPr>
          <p:nvPr/>
        </p:nvGrpSpPr>
        <p:grpSpPr bwMode="auto">
          <a:xfrm>
            <a:off x="6773863" y="128588"/>
            <a:ext cx="2406650" cy="360362"/>
            <a:chOff x="154184" y="1981200"/>
            <a:chExt cx="838200" cy="722586"/>
          </a:xfrm>
        </p:grpSpPr>
        <p:sp>
          <p:nvSpPr>
            <p:cNvPr id="36" name="Rectangle 35">
              <a:extLst>
                <a:ext uri="{FF2B5EF4-FFF2-40B4-BE49-F238E27FC236}">
                  <a16:creationId xmlns="" xmlns:a16="http://schemas.microsoft.com/office/drawing/2014/main" id="{C6230382-EF7B-4C44-BE41-A670EBAC6DD7}"/>
                </a:ext>
              </a:extLst>
            </p:cNvPr>
            <p:cNvSpPr/>
            <p:nvPr/>
          </p:nvSpPr>
          <p:spPr>
            <a:xfrm>
              <a:off x="212239" y="1981200"/>
              <a:ext cx="722091" cy="722586"/>
            </a:xfrm>
            <a:prstGeom prst="rect">
              <a:avLst/>
            </a:prstGeom>
            <a:solidFill>
              <a:schemeClr val="tx1">
                <a:lumMod val="75000"/>
                <a:lumOff val="2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="" xmlns:a16="http://schemas.microsoft.com/office/drawing/2014/main" id="{E81DCC8A-3DC0-0D49-8104-202E5B0E1225}"/>
                </a:ext>
              </a:extLst>
            </p:cNvPr>
            <p:cNvSpPr txBox="1"/>
            <p:nvPr/>
          </p:nvSpPr>
          <p:spPr>
            <a:xfrm>
              <a:off x="154184" y="2095795"/>
              <a:ext cx="838200" cy="50612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50" dirty="0">
                  <a:solidFill>
                    <a:schemeClr val="bg1"/>
                  </a:solidFill>
                  <a:latin typeface="Avenir Roman" panose="02000503020000020003" pitchFamily="2" charset="0"/>
                </a:rPr>
                <a:t>Baseline Findings</a:t>
              </a:r>
            </a:p>
          </p:txBody>
        </p:sp>
      </p:grpSp>
      <p:sp>
        <p:nvSpPr>
          <p:cNvPr id="17" name="TextBox 1">
            <a:extLst>
              <a:ext uri="{FF2B5EF4-FFF2-40B4-BE49-F238E27FC236}">
                <a16:creationId xmlns="" xmlns:a16="http://schemas.microsoft.com/office/drawing/2014/main" id="{05B9A927-4B1F-6144-8944-57D92887A2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3962400"/>
            <a:ext cx="3551237" cy="1015663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INSTRUMENT</a:t>
            </a:r>
          </a:p>
          <a:p>
            <a:pPr eaLnBrk="1" hangingPunct="1"/>
            <a:r>
              <a:rPr lang="en-US" altLang="en-US" sz="3000" b="1" dirty="0">
                <a:solidFill>
                  <a:srgbClr val="F06C45"/>
                </a:solidFill>
                <a:latin typeface="Bookman Old Style" panose="02050604050505020204" pitchFamily="18" charset="0"/>
              </a:rPr>
              <a:t>DEVELOPMEN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="" xmlns:a16="http://schemas.microsoft.com/office/drawing/2014/main" id="{79E377CD-E661-0743-B8CF-E8BE1E467532}"/>
              </a:ext>
            </a:extLst>
          </p:cNvPr>
          <p:cNvGrpSpPr/>
          <p:nvPr/>
        </p:nvGrpSpPr>
        <p:grpSpPr>
          <a:xfrm>
            <a:off x="1651795" y="609600"/>
            <a:ext cx="6015036" cy="3298825"/>
            <a:chOff x="677863" y="1196975"/>
            <a:chExt cx="7500937" cy="4260850"/>
          </a:xfrm>
        </p:grpSpPr>
        <p:sp>
          <p:nvSpPr>
            <p:cNvPr id="18" name="Freeform 4">
              <a:extLst>
                <a:ext uri="{FF2B5EF4-FFF2-40B4-BE49-F238E27FC236}">
                  <a16:creationId xmlns="" xmlns:a16="http://schemas.microsoft.com/office/drawing/2014/main" id="{60A90F46-7E25-994F-B9BD-BB97E2F25D9A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519363" y="5394325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1 w 73"/>
                <a:gd name="T3" fmla="*/ 5 h 20"/>
                <a:gd name="T4" fmla="*/ 4 w 73"/>
                <a:gd name="T5" fmla="*/ 10 h 20"/>
                <a:gd name="T6" fmla="*/ 8 w 73"/>
                <a:gd name="T7" fmla="*/ 14 h 20"/>
                <a:gd name="T8" fmla="*/ 13 w 73"/>
                <a:gd name="T9" fmla="*/ 20 h 20"/>
                <a:gd name="T10" fmla="*/ 16 w 73"/>
                <a:gd name="T11" fmla="*/ 17 h 20"/>
                <a:gd name="T12" fmla="*/ 19 w 73"/>
                <a:gd name="T13" fmla="*/ 13 h 20"/>
                <a:gd name="T14" fmla="*/ 23 w 73"/>
                <a:gd name="T15" fmla="*/ 11 h 20"/>
                <a:gd name="T16" fmla="*/ 27 w 73"/>
                <a:gd name="T17" fmla="*/ 10 h 20"/>
                <a:gd name="T18" fmla="*/ 36 w 73"/>
                <a:gd name="T19" fmla="*/ 8 h 20"/>
                <a:gd name="T20" fmla="*/ 46 w 73"/>
                <a:gd name="T21" fmla="*/ 7 h 20"/>
                <a:gd name="T22" fmla="*/ 54 w 73"/>
                <a:gd name="T23" fmla="*/ 7 h 20"/>
                <a:gd name="T24" fmla="*/ 63 w 73"/>
                <a:gd name="T25" fmla="*/ 6 h 20"/>
                <a:gd name="T26" fmla="*/ 66 w 73"/>
                <a:gd name="T27" fmla="*/ 5 h 20"/>
                <a:gd name="T28" fmla="*/ 69 w 73"/>
                <a:gd name="T29" fmla="*/ 4 h 20"/>
                <a:gd name="T30" fmla="*/ 71 w 73"/>
                <a:gd name="T31" fmla="*/ 2 h 20"/>
                <a:gd name="T32" fmla="*/ 73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Freeform 5">
              <a:extLst>
                <a:ext uri="{FF2B5EF4-FFF2-40B4-BE49-F238E27FC236}">
                  <a16:creationId xmlns="" xmlns:a16="http://schemas.microsoft.com/office/drawing/2014/main" id="{75AD633E-20A4-6D46-8AB1-46656213F245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77863" y="1495425"/>
              <a:ext cx="784225" cy="446088"/>
            </a:xfrm>
            <a:custGeom>
              <a:avLst/>
              <a:gdLst>
                <a:gd name="T0" fmla="*/ 1395 w 1808"/>
                <a:gd name="T1" fmla="*/ 807 h 850"/>
                <a:gd name="T2" fmla="*/ 1394 w 1808"/>
                <a:gd name="T3" fmla="*/ 753 h 850"/>
                <a:gd name="T4" fmla="*/ 1373 w 1808"/>
                <a:gd name="T5" fmla="*/ 648 h 850"/>
                <a:gd name="T6" fmla="*/ 1323 w 1808"/>
                <a:gd name="T7" fmla="*/ 641 h 850"/>
                <a:gd name="T8" fmla="*/ 1264 w 1808"/>
                <a:gd name="T9" fmla="*/ 639 h 850"/>
                <a:gd name="T10" fmla="*/ 1134 w 1808"/>
                <a:gd name="T11" fmla="*/ 582 h 850"/>
                <a:gd name="T12" fmla="*/ 973 w 1808"/>
                <a:gd name="T13" fmla="*/ 537 h 850"/>
                <a:gd name="T14" fmla="*/ 943 w 1808"/>
                <a:gd name="T15" fmla="*/ 504 h 850"/>
                <a:gd name="T16" fmla="*/ 901 w 1808"/>
                <a:gd name="T17" fmla="*/ 516 h 850"/>
                <a:gd name="T18" fmla="*/ 849 w 1808"/>
                <a:gd name="T19" fmla="*/ 570 h 850"/>
                <a:gd name="T20" fmla="*/ 675 w 1808"/>
                <a:gd name="T21" fmla="*/ 619 h 850"/>
                <a:gd name="T22" fmla="*/ 678 w 1808"/>
                <a:gd name="T23" fmla="*/ 578 h 850"/>
                <a:gd name="T24" fmla="*/ 721 w 1808"/>
                <a:gd name="T25" fmla="*/ 548 h 850"/>
                <a:gd name="T26" fmla="*/ 786 w 1808"/>
                <a:gd name="T27" fmla="*/ 545 h 850"/>
                <a:gd name="T28" fmla="*/ 724 w 1808"/>
                <a:gd name="T29" fmla="*/ 528 h 850"/>
                <a:gd name="T30" fmla="*/ 578 w 1808"/>
                <a:gd name="T31" fmla="*/ 589 h 850"/>
                <a:gd name="T32" fmla="*/ 547 w 1808"/>
                <a:gd name="T33" fmla="*/ 625 h 850"/>
                <a:gd name="T34" fmla="*/ 526 w 1808"/>
                <a:gd name="T35" fmla="*/ 650 h 850"/>
                <a:gd name="T36" fmla="*/ 452 w 1808"/>
                <a:gd name="T37" fmla="*/ 654 h 850"/>
                <a:gd name="T38" fmla="*/ 383 w 1808"/>
                <a:gd name="T39" fmla="*/ 702 h 850"/>
                <a:gd name="T40" fmla="*/ 252 w 1808"/>
                <a:gd name="T41" fmla="*/ 750 h 850"/>
                <a:gd name="T42" fmla="*/ 105 w 1808"/>
                <a:gd name="T43" fmla="*/ 807 h 850"/>
                <a:gd name="T44" fmla="*/ 4 w 1808"/>
                <a:gd name="T45" fmla="*/ 813 h 850"/>
                <a:gd name="T46" fmla="*/ 14 w 1808"/>
                <a:gd name="T47" fmla="*/ 789 h 850"/>
                <a:gd name="T48" fmla="*/ 127 w 1808"/>
                <a:gd name="T49" fmla="*/ 761 h 850"/>
                <a:gd name="T50" fmla="*/ 265 w 1808"/>
                <a:gd name="T51" fmla="*/ 696 h 850"/>
                <a:gd name="T52" fmla="*/ 300 w 1808"/>
                <a:gd name="T53" fmla="*/ 626 h 850"/>
                <a:gd name="T54" fmla="*/ 253 w 1808"/>
                <a:gd name="T55" fmla="*/ 657 h 850"/>
                <a:gd name="T56" fmla="*/ 150 w 1808"/>
                <a:gd name="T57" fmla="*/ 643 h 850"/>
                <a:gd name="T58" fmla="*/ 172 w 1808"/>
                <a:gd name="T59" fmla="*/ 610 h 850"/>
                <a:gd name="T60" fmla="*/ 240 w 1808"/>
                <a:gd name="T61" fmla="*/ 547 h 850"/>
                <a:gd name="T62" fmla="*/ 152 w 1808"/>
                <a:gd name="T63" fmla="*/ 575 h 850"/>
                <a:gd name="T64" fmla="*/ 143 w 1808"/>
                <a:gd name="T65" fmla="*/ 536 h 850"/>
                <a:gd name="T66" fmla="*/ 346 w 1808"/>
                <a:gd name="T67" fmla="*/ 380 h 850"/>
                <a:gd name="T68" fmla="*/ 444 w 1808"/>
                <a:gd name="T69" fmla="*/ 382 h 850"/>
                <a:gd name="T70" fmla="*/ 569 w 1808"/>
                <a:gd name="T71" fmla="*/ 349 h 850"/>
                <a:gd name="T72" fmla="*/ 592 w 1808"/>
                <a:gd name="T73" fmla="*/ 306 h 850"/>
                <a:gd name="T74" fmla="*/ 506 w 1808"/>
                <a:gd name="T75" fmla="*/ 331 h 850"/>
                <a:gd name="T76" fmla="*/ 438 w 1808"/>
                <a:gd name="T77" fmla="*/ 318 h 850"/>
                <a:gd name="T78" fmla="*/ 472 w 1808"/>
                <a:gd name="T79" fmla="*/ 287 h 850"/>
                <a:gd name="T80" fmla="*/ 711 w 1808"/>
                <a:gd name="T81" fmla="*/ 238 h 850"/>
                <a:gd name="T82" fmla="*/ 749 w 1808"/>
                <a:gd name="T83" fmla="*/ 210 h 850"/>
                <a:gd name="T84" fmla="*/ 684 w 1808"/>
                <a:gd name="T85" fmla="*/ 176 h 850"/>
                <a:gd name="T86" fmla="*/ 739 w 1808"/>
                <a:gd name="T87" fmla="*/ 109 h 850"/>
                <a:gd name="T88" fmla="*/ 988 w 1808"/>
                <a:gd name="T89" fmla="*/ 27 h 850"/>
                <a:gd name="T90" fmla="*/ 1157 w 1808"/>
                <a:gd name="T91" fmla="*/ 9 h 850"/>
                <a:gd name="T92" fmla="*/ 1277 w 1808"/>
                <a:gd name="T93" fmla="*/ 2 h 850"/>
                <a:gd name="T94" fmla="*/ 1354 w 1808"/>
                <a:gd name="T95" fmla="*/ 10 h 850"/>
                <a:gd name="T96" fmla="*/ 1516 w 1808"/>
                <a:gd name="T97" fmla="*/ 34 h 850"/>
                <a:gd name="T98" fmla="*/ 1761 w 1808"/>
                <a:gd name="T99" fmla="*/ 41 h 850"/>
                <a:gd name="T100" fmla="*/ 1287 w 1808"/>
                <a:gd name="T101" fmla="*/ 540 h 850"/>
                <a:gd name="T102" fmla="*/ 1321 w 1808"/>
                <a:gd name="T103" fmla="*/ 571 h 850"/>
                <a:gd name="T104" fmla="*/ 1327 w 1808"/>
                <a:gd name="T105" fmla="*/ 601 h 850"/>
                <a:gd name="T106" fmla="*/ 1382 w 1808"/>
                <a:gd name="T107" fmla="*/ 599 h 850"/>
                <a:gd name="T108" fmla="*/ 1429 w 1808"/>
                <a:gd name="T109" fmla="*/ 577 h 850"/>
                <a:gd name="T110" fmla="*/ 1475 w 1808"/>
                <a:gd name="T111" fmla="*/ 667 h 850"/>
                <a:gd name="T112" fmla="*/ 1462 w 1808"/>
                <a:gd name="T113" fmla="*/ 706 h 850"/>
                <a:gd name="T114" fmla="*/ 1449 w 1808"/>
                <a:gd name="T115" fmla="*/ 742 h 850"/>
                <a:gd name="T116" fmla="*/ 1477 w 1808"/>
                <a:gd name="T117" fmla="*/ 783 h 850"/>
                <a:gd name="T118" fmla="*/ 1477 w 1808"/>
                <a:gd name="T119" fmla="*/ 811 h 850"/>
                <a:gd name="T120" fmla="*/ 1426 w 1808"/>
                <a:gd name="T121" fmla="*/ 848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6">
              <a:extLst>
                <a:ext uri="{FF2B5EF4-FFF2-40B4-BE49-F238E27FC236}">
                  <a16:creationId xmlns="" xmlns:a16="http://schemas.microsoft.com/office/drawing/2014/main" id="{7538E66C-B891-F04E-9F1A-5620F1BB2565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138238" y="2111375"/>
              <a:ext cx="1381125" cy="769938"/>
            </a:xfrm>
            <a:custGeom>
              <a:avLst/>
              <a:gdLst>
                <a:gd name="T0" fmla="*/ 2928 w 3175"/>
                <a:gd name="T1" fmla="*/ 353 h 1472"/>
                <a:gd name="T2" fmla="*/ 2896 w 3175"/>
                <a:gd name="T3" fmla="*/ 440 h 1472"/>
                <a:gd name="T4" fmla="*/ 2843 w 3175"/>
                <a:gd name="T5" fmla="*/ 462 h 1472"/>
                <a:gd name="T6" fmla="*/ 2667 w 3175"/>
                <a:gd name="T7" fmla="*/ 566 h 1472"/>
                <a:gd name="T8" fmla="*/ 2595 w 3175"/>
                <a:gd name="T9" fmla="*/ 585 h 1472"/>
                <a:gd name="T10" fmla="*/ 2570 w 3175"/>
                <a:gd name="T11" fmla="*/ 677 h 1472"/>
                <a:gd name="T12" fmla="*/ 2514 w 3175"/>
                <a:gd name="T13" fmla="*/ 621 h 1472"/>
                <a:gd name="T14" fmla="*/ 2499 w 3175"/>
                <a:gd name="T15" fmla="*/ 690 h 1472"/>
                <a:gd name="T16" fmla="*/ 2465 w 3175"/>
                <a:gd name="T17" fmla="*/ 744 h 1472"/>
                <a:gd name="T18" fmla="*/ 2471 w 3175"/>
                <a:gd name="T19" fmla="*/ 823 h 1472"/>
                <a:gd name="T20" fmla="*/ 2332 w 3175"/>
                <a:gd name="T21" fmla="*/ 928 h 1472"/>
                <a:gd name="T22" fmla="*/ 2165 w 3175"/>
                <a:gd name="T23" fmla="*/ 1045 h 1472"/>
                <a:gd name="T24" fmla="*/ 2112 w 3175"/>
                <a:gd name="T25" fmla="*/ 1195 h 1472"/>
                <a:gd name="T26" fmla="*/ 2103 w 3175"/>
                <a:gd name="T27" fmla="*/ 1457 h 1472"/>
                <a:gd name="T28" fmla="*/ 2026 w 3175"/>
                <a:gd name="T29" fmla="*/ 1414 h 1472"/>
                <a:gd name="T30" fmla="*/ 1993 w 3175"/>
                <a:gd name="T31" fmla="*/ 1326 h 1472"/>
                <a:gd name="T32" fmla="*/ 1959 w 3175"/>
                <a:gd name="T33" fmla="*/ 1184 h 1472"/>
                <a:gd name="T34" fmla="*/ 1832 w 3175"/>
                <a:gd name="T35" fmla="*/ 1168 h 1472"/>
                <a:gd name="T36" fmla="*/ 1653 w 3175"/>
                <a:gd name="T37" fmla="*/ 1143 h 1472"/>
                <a:gd name="T38" fmla="*/ 1616 w 3175"/>
                <a:gd name="T39" fmla="*/ 1186 h 1472"/>
                <a:gd name="T40" fmla="*/ 1548 w 3175"/>
                <a:gd name="T41" fmla="*/ 1238 h 1472"/>
                <a:gd name="T42" fmla="*/ 1436 w 3175"/>
                <a:gd name="T43" fmla="*/ 1192 h 1472"/>
                <a:gd name="T44" fmla="*/ 1231 w 3175"/>
                <a:gd name="T45" fmla="*/ 1272 h 1472"/>
                <a:gd name="T46" fmla="*/ 1160 w 3175"/>
                <a:gd name="T47" fmla="*/ 1392 h 1472"/>
                <a:gd name="T48" fmla="*/ 1080 w 3175"/>
                <a:gd name="T49" fmla="*/ 1382 h 1472"/>
                <a:gd name="T50" fmla="*/ 1037 w 3175"/>
                <a:gd name="T51" fmla="*/ 1227 h 1472"/>
                <a:gd name="T52" fmla="*/ 940 w 3175"/>
                <a:gd name="T53" fmla="*/ 1190 h 1472"/>
                <a:gd name="T54" fmla="*/ 867 w 3175"/>
                <a:gd name="T55" fmla="*/ 1219 h 1472"/>
                <a:gd name="T56" fmla="*/ 782 w 3175"/>
                <a:gd name="T57" fmla="*/ 1087 h 1472"/>
                <a:gd name="T58" fmla="*/ 670 w 3175"/>
                <a:gd name="T59" fmla="*/ 1065 h 1472"/>
                <a:gd name="T60" fmla="*/ 462 w 3175"/>
                <a:gd name="T61" fmla="*/ 1065 h 1472"/>
                <a:gd name="T62" fmla="*/ 220 w 3175"/>
                <a:gd name="T63" fmla="*/ 1016 h 1472"/>
                <a:gd name="T64" fmla="*/ 88 w 3175"/>
                <a:gd name="T65" fmla="*/ 920 h 1472"/>
                <a:gd name="T66" fmla="*/ 39 w 3175"/>
                <a:gd name="T67" fmla="*/ 848 h 1472"/>
                <a:gd name="T68" fmla="*/ 29 w 3175"/>
                <a:gd name="T69" fmla="*/ 662 h 1472"/>
                <a:gd name="T70" fmla="*/ 0 w 3175"/>
                <a:gd name="T71" fmla="*/ 604 h 1472"/>
                <a:gd name="T72" fmla="*/ 141 w 3175"/>
                <a:gd name="T73" fmla="*/ 336 h 1472"/>
                <a:gd name="T74" fmla="*/ 247 w 3175"/>
                <a:gd name="T75" fmla="*/ 176 h 1472"/>
                <a:gd name="T76" fmla="*/ 355 w 3175"/>
                <a:gd name="T77" fmla="*/ 102 h 1472"/>
                <a:gd name="T78" fmla="*/ 376 w 3175"/>
                <a:gd name="T79" fmla="*/ 120 h 1472"/>
                <a:gd name="T80" fmla="*/ 1827 w 3175"/>
                <a:gd name="T81" fmla="*/ 0 h 1472"/>
                <a:gd name="T82" fmla="*/ 1926 w 3175"/>
                <a:gd name="T83" fmla="*/ 55 h 1472"/>
                <a:gd name="T84" fmla="*/ 2015 w 3175"/>
                <a:gd name="T85" fmla="*/ 69 h 1472"/>
                <a:gd name="T86" fmla="*/ 1929 w 3175"/>
                <a:gd name="T87" fmla="*/ 128 h 1472"/>
                <a:gd name="T88" fmla="*/ 1977 w 3175"/>
                <a:gd name="T89" fmla="*/ 166 h 1472"/>
                <a:gd name="T90" fmla="*/ 2094 w 3175"/>
                <a:gd name="T91" fmla="*/ 155 h 1472"/>
                <a:gd name="T92" fmla="*/ 2284 w 3175"/>
                <a:gd name="T93" fmla="*/ 193 h 1472"/>
                <a:gd name="T94" fmla="*/ 2217 w 3175"/>
                <a:gd name="T95" fmla="*/ 204 h 1472"/>
                <a:gd name="T96" fmla="*/ 2087 w 3175"/>
                <a:gd name="T97" fmla="*/ 264 h 1472"/>
                <a:gd name="T98" fmla="*/ 2021 w 3175"/>
                <a:gd name="T99" fmla="*/ 355 h 1472"/>
                <a:gd name="T100" fmla="*/ 2012 w 3175"/>
                <a:gd name="T101" fmla="*/ 451 h 1472"/>
                <a:gd name="T102" fmla="*/ 2076 w 3175"/>
                <a:gd name="T103" fmla="*/ 417 h 1472"/>
                <a:gd name="T104" fmla="*/ 2205 w 3175"/>
                <a:gd name="T105" fmla="*/ 252 h 1472"/>
                <a:gd name="T106" fmla="*/ 2267 w 3175"/>
                <a:gd name="T107" fmla="*/ 303 h 1472"/>
                <a:gd name="T108" fmla="*/ 2299 w 3175"/>
                <a:gd name="T109" fmla="*/ 394 h 1472"/>
                <a:gd name="T110" fmla="*/ 2206 w 3175"/>
                <a:gd name="T111" fmla="*/ 454 h 1472"/>
                <a:gd name="T112" fmla="*/ 2317 w 3175"/>
                <a:gd name="T113" fmla="*/ 457 h 1472"/>
                <a:gd name="T114" fmla="*/ 2570 w 3175"/>
                <a:gd name="T115" fmla="*/ 373 h 1472"/>
                <a:gd name="T116" fmla="*/ 2730 w 3175"/>
                <a:gd name="T117" fmla="*/ 252 h 1472"/>
                <a:gd name="T118" fmla="*/ 3016 w 3175"/>
                <a:gd name="T119" fmla="*/ 203 h 1472"/>
                <a:gd name="T120" fmla="*/ 3136 w 3175"/>
                <a:gd name="T121" fmla="*/ 118 h 1472"/>
                <a:gd name="T122" fmla="*/ 3149 w 3175"/>
                <a:gd name="T123" fmla="*/ 184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Freeform 7">
              <a:extLst>
                <a:ext uri="{FF2B5EF4-FFF2-40B4-BE49-F238E27FC236}">
                  <a16:creationId xmlns="" xmlns:a16="http://schemas.microsoft.com/office/drawing/2014/main" id="{9F655AB6-6300-7747-ACC6-9931EE79D8D7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971675" y="3662363"/>
              <a:ext cx="339725" cy="590550"/>
            </a:xfrm>
            <a:custGeom>
              <a:avLst/>
              <a:gdLst>
                <a:gd name="T0" fmla="*/ 583 w 784"/>
                <a:gd name="T1" fmla="*/ 277 h 1128"/>
                <a:gd name="T2" fmla="*/ 549 w 784"/>
                <a:gd name="T3" fmla="*/ 295 h 1128"/>
                <a:gd name="T4" fmla="*/ 484 w 784"/>
                <a:gd name="T5" fmla="*/ 387 h 1128"/>
                <a:gd name="T6" fmla="*/ 465 w 784"/>
                <a:gd name="T7" fmla="*/ 457 h 1128"/>
                <a:gd name="T8" fmla="*/ 481 w 784"/>
                <a:gd name="T9" fmla="*/ 522 h 1128"/>
                <a:gd name="T10" fmla="*/ 530 w 784"/>
                <a:gd name="T11" fmla="*/ 591 h 1128"/>
                <a:gd name="T12" fmla="*/ 579 w 784"/>
                <a:gd name="T13" fmla="*/ 616 h 1128"/>
                <a:gd name="T14" fmla="*/ 625 w 784"/>
                <a:gd name="T15" fmla="*/ 600 h 1128"/>
                <a:gd name="T16" fmla="*/ 654 w 784"/>
                <a:gd name="T17" fmla="*/ 653 h 1128"/>
                <a:gd name="T18" fmla="*/ 672 w 784"/>
                <a:gd name="T19" fmla="*/ 683 h 1128"/>
                <a:gd name="T20" fmla="*/ 714 w 784"/>
                <a:gd name="T21" fmla="*/ 687 h 1128"/>
                <a:gd name="T22" fmla="*/ 749 w 784"/>
                <a:gd name="T23" fmla="*/ 712 h 1128"/>
                <a:gd name="T24" fmla="*/ 770 w 784"/>
                <a:gd name="T25" fmla="*/ 756 h 1128"/>
                <a:gd name="T26" fmla="*/ 761 w 784"/>
                <a:gd name="T27" fmla="*/ 790 h 1128"/>
                <a:gd name="T28" fmla="*/ 760 w 784"/>
                <a:gd name="T29" fmla="*/ 825 h 1128"/>
                <a:gd name="T30" fmla="*/ 772 w 784"/>
                <a:gd name="T31" fmla="*/ 882 h 1128"/>
                <a:gd name="T32" fmla="*/ 758 w 784"/>
                <a:gd name="T33" fmla="*/ 932 h 1128"/>
                <a:gd name="T34" fmla="*/ 770 w 784"/>
                <a:gd name="T35" fmla="*/ 994 h 1128"/>
                <a:gd name="T36" fmla="*/ 763 w 784"/>
                <a:gd name="T37" fmla="*/ 1054 h 1128"/>
                <a:gd name="T38" fmla="*/ 691 w 784"/>
                <a:gd name="T39" fmla="*/ 1122 h 1128"/>
                <a:gd name="T40" fmla="*/ 648 w 784"/>
                <a:gd name="T41" fmla="*/ 1103 h 1128"/>
                <a:gd name="T42" fmla="*/ 602 w 784"/>
                <a:gd name="T43" fmla="*/ 1056 h 1128"/>
                <a:gd name="T44" fmla="*/ 463 w 784"/>
                <a:gd name="T45" fmla="*/ 998 h 1128"/>
                <a:gd name="T46" fmla="*/ 425 w 784"/>
                <a:gd name="T47" fmla="*/ 967 h 1128"/>
                <a:gd name="T48" fmla="*/ 331 w 784"/>
                <a:gd name="T49" fmla="*/ 894 h 1128"/>
                <a:gd name="T50" fmla="*/ 318 w 784"/>
                <a:gd name="T51" fmla="*/ 867 h 1128"/>
                <a:gd name="T52" fmla="*/ 328 w 784"/>
                <a:gd name="T53" fmla="*/ 815 h 1128"/>
                <a:gd name="T54" fmla="*/ 290 w 784"/>
                <a:gd name="T55" fmla="*/ 778 h 1128"/>
                <a:gd name="T56" fmla="*/ 259 w 784"/>
                <a:gd name="T57" fmla="*/ 745 h 1128"/>
                <a:gd name="T58" fmla="*/ 243 w 784"/>
                <a:gd name="T59" fmla="*/ 689 h 1128"/>
                <a:gd name="T60" fmla="*/ 153 w 784"/>
                <a:gd name="T61" fmla="*/ 530 h 1128"/>
                <a:gd name="T62" fmla="*/ 120 w 784"/>
                <a:gd name="T63" fmla="*/ 487 h 1128"/>
                <a:gd name="T64" fmla="*/ 90 w 784"/>
                <a:gd name="T65" fmla="*/ 432 h 1128"/>
                <a:gd name="T66" fmla="*/ 22 w 784"/>
                <a:gd name="T67" fmla="*/ 397 h 1128"/>
                <a:gd name="T68" fmla="*/ 0 w 784"/>
                <a:gd name="T69" fmla="*/ 363 h 1128"/>
                <a:gd name="T70" fmla="*/ 13 w 784"/>
                <a:gd name="T71" fmla="*/ 276 h 1128"/>
                <a:gd name="T72" fmla="*/ 28 w 784"/>
                <a:gd name="T73" fmla="*/ 246 h 1128"/>
                <a:gd name="T74" fmla="*/ 72 w 784"/>
                <a:gd name="T75" fmla="*/ 222 h 1128"/>
                <a:gd name="T76" fmla="*/ 95 w 784"/>
                <a:gd name="T77" fmla="*/ 272 h 1128"/>
                <a:gd name="T78" fmla="*/ 158 w 784"/>
                <a:gd name="T79" fmla="*/ 307 h 1128"/>
                <a:gd name="T80" fmla="*/ 184 w 784"/>
                <a:gd name="T81" fmla="*/ 271 h 1128"/>
                <a:gd name="T82" fmla="*/ 201 w 784"/>
                <a:gd name="T83" fmla="*/ 225 h 1128"/>
                <a:gd name="T84" fmla="*/ 270 w 784"/>
                <a:gd name="T85" fmla="*/ 170 h 1128"/>
                <a:gd name="T86" fmla="*/ 344 w 784"/>
                <a:gd name="T87" fmla="*/ 120 h 1128"/>
                <a:gd name="T88" fmla="*/ 357 w 784"/>
                <a:gd name="T89" fmla="*/ 70 h 1128"/>
                <a:gd name="T90" fmla="*/ 347 w 784"/>
                <a:gd name="T91" fmla="*/ 5 h 1128"/>
                <a:gd name="T92" fmla="*/ 422 w 784"/>
                <a:gd name="T93" fmla="*/ 53 h 1128"/>
                <a:gd name="T94" fmla="*/ 467 w 784"/>
                <a:gd name="T95" fmla="*/ 107 h 1128"/>
                <a:gd name="T96" fmla="*/ 506 w 784"/>
                <a:gd name="T97" fmla="*/ 154 h 1128"/>
                <a:gd name="T98" fmla="*/ 561 w 784"/>
                <a:gd name="T99" fmla="*/ 157 h 1128"/>
                <a:gd name="T100" fmla="*/ 617 w 784"/>
                <a:gd name="T101" fmla="*/ 149 h 1128"/>
                <a:gd name="T102" fmla="*/ 640 w 784"/>
                <a:gd name="T103" fmla="*/ 156 h 1128"/>
                <a:gd name="T104" fmla="*/ 654 w 784"/>
                <a:gd name="T105" fmla="*/ 193 h 1128"/>
                <a:gd name="T106" fmla="*/ 627 w 784"/>
                <a:gd name="T107" fmla="*/ 210 h 1128"/>
                <a:gd name="T108" fmla="*/ 627 w 784"/>
                <a:gd name="T109" fmla="*/ 240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Freeform 8">
              <a:extLst>
                <a:ext uri="{FF2B5EF4-FFF2-40B4-BE49-F238E27FC236}">
                  <a16:creationId xmlns="" xmlns:a16="http://schemas.microsoft.com/office/drawing/2014/main" id="{C027C347-2BC3-1546-A324-E5ECBE18A405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271713" y="4225925"/>
              <a:ext cx="261937" cy="1130300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Freeform 9">
              <a:extLst>
                <a:ext uri="{FF2B5EF4-FFF2-40B4-BE49-F238E27FC236}">
                  <a16:creationId xmlns="" xmlns:a16="http://schemas.microsoft.com/office/drawing/2014/main" id="{7DD8E74A-9D62-8A4E-B8F5-ED838FACB3D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176463" y="3508375"/>
              <a:ext cx="966787" cy="1203325"/>
            </a:xfrm>
            <a:custGeom>
              <a:avLst/>
              <a:gdLst>
                <a:gd name="T0" fmla="*/ 440 w 2226"/>
                <a:gd name="T1" fmla="*/ 896 h 2292"/>
                <a:gd name="T2" fmla="*/ 505 w 2226"/>
                <a:gd name="T3" fmla="*/ 985 h 2292"/>
                <a:gd name="T4" fmla="*/ 572 w 2226"/>
                <a:gd name="T5" fmla="*/ 1054 h 2292"/>
                <a:gd name="T6" fmla="*/ 716 w 2226"/>
                <a:gd name="T7" fmla="*/ 1098 h 2292"/>
                <a:gd name="T8" fmla="*/ 798 w 2226"/>
                <a:gd name="T9" fmla="*/ 1204 h 2292"/>
                <a:gd name="T10" fmla="*/ 846 w 2226"/>
                <a:gd name="T11" fmla="*/ 1292 h 2292"/>
                <a:gd name="T12" fmla="*/ 939 w 2226"/>
                <a:gd name="T13" fmla="*/ 1355 h 2292"/>
                <a:gd name="T14" fmla="*/ 957 w 2226"/>
                <a:gd name="T15" fmla="*/ 1466 h 2292"/>
                <a:gd name="T16" fmla="*/ 976 w 2226"/>
                <a:gd name="T17" fmla="*/ 1541 h 2292"/>
                <a:gd name="T18" fmla="*/ 992 w 2226"/>
                <a:gd name="T19" fmla="*/ 1632 h 2292"/>
                <a:gd name="T20" fmla="*/ 1131 w 2226"/>
                <a:gd name="T21" fmla="*/ 1698 h 2292"/>
                <a:gd name="T22" fmla="*/ 1193 w 2226"/>
                <a:gd name="T23" fmla="*/ 1805 h 2292"/>
                <a:gd name="T24" fmla="*/ 1243 w 2226"/>
                <a:gd name="T25" fmla="*/ 1864 h 2292"/>
                <a:gd name="T26" fmla="*/ 1183 w 2226"/>
                <a:gd name="T27" fmla="*/ 2003 h 2292"/>
                <a:gd name="T28" fmla="*/ 1084 w 2226"/>
                <a:gd name="T29" fmla="*/ 2128 h 2292"/>
                <a:gd name="T30" fmla="*/ 1180 w 2226"/>
                <a:gd name="T31" fmla="*/ 2161 h 2292"/>
                <a:gd name="T32" fmla="*/ 1296 w 2226"/>
                <a:gd name="T33" fmla="*/ 2234 h 2292"/>
                <a:gd name="T34" fmla="*/ 1419 w 2226"/>
                <a:gd name="T35" fmla="*/ 2198 h 2292"/>
                <a:gd name="T36" fmla="*/ 1518 w 2226"/>
                <a:gd name="T37" fmla="*/ 2036 h 2292"/>
                <a:gd name="T38" fmla="*/ 1512 w 2226"/>
                <a:gd name="T39" fmla="*/ 1918 h 2292"/>
                <a:gd name="T40" fmla="*/ 1561 w 2226"/>
                <a:gd name="T41" fmla="*/ 1793 h 2292"/>
                <a:gd name="T42" fmla="*/ 1706 w 2226"/>
                <a:gd name="T43" fmla="*/ 1727 h 2292"/>
                <a:gd name="T44" fmla="*/ 1798 w 2226"/>
                <a:gd name="T45" fmla="*/ 1681 h 2292"/>
                <a:gd name="T46" fmla="*/ 1897 w 2226"/>
                <a:gd name="T47" fmla="*/ 1641 h 2292"/>
                <a:gd name="T48" fmla="*/ 1982 w 2226"/>
                <a:gd name="T49" fmla="*/ 1400 h 2292"/>
                <a:gd name="T50" fmla="*/ 2014 w 2226"/>
                <a:gd name="T51" fmla="*/ 1288 h 2292"/>
                <a:gd name="T52" fmla="*/ 2002 w 2226"/>
                <a:gd name="T53" fmla="*/ 1090 h 2292"/>
                <a:gd name="T54" fmla="*/ 2073 w 2226"/>
                <a:gd name="T55" fmla="*/ 1009 h 2292"/>
                <a:gd name="T56" fmla="*/ 2190 w 2226"/>
                <a:gd name="T57" fmla="*/ 877 h 2292"/>
                <a:gd name="T58" fmla="*/ 2222 w 2226"/>
                <a:gd name="T59" fmla="*/ 732 h 2292"/>
                <a:gd name="T60" fmla="*/ 2157 w 2226"/>
                <a:gd name="T61" fmla="*/ 599 h 2292"/>
                <a:gd name="T62" fmla="*/ 2059 w 2226"/>
                <a:gd name="T63" fmla="*/ 563 h 2292"/>
                <a:gd name="T64" fmla="*/ 1921 w 2226"/>
                <a:gd name="T65" fmla="*/ 462 h 2292"/>
                <a:gd name="T66" fmla="*/ 1742 w 2226"/>
                <a:gd name="T67" fmla="*/ 450 h 2292"/>
                <a:gd name="T68" fmla="*/ 1670 w 2226"/>
                <a:gd name="T69" fmla="*/ 447 h 2292"/>
                <a:gd name="T70" fmla="*/ 1636 w 2226"/>
                <a:gd name="T71" fmla="*/ 394 h 2292"/>
                <a:gd name="T72" fmla="*/ 1512 w 2226"/>
                <a:gd name="T73" fmla="*/ 348 h 2292"/>
                <a:gd name="T74" fmla="*/ 1411 w 2226"/>
                <a:gd name="T75" fmla="*/ 409 h 2292"/>
                <a:gd name="T76" fmla="*/ 1338 w 2226"/>
                <a:gd name="T77" fmla="*/ 405 h 2292"/>
                <a:gd name="T78" fmla="*/ 1247 w 2226"/>
                <a:gd name="T79" fmla="*/ 384 h 2292"/>
                <a:gd name="T80" fmla="*/ 1317 w 2226"/>
                <a:gd name="T81" fmla="*/ 268 h 2292"/>
                <a:gd name="T82" fmla="*/ 1338 w 2226"/>
                <a:gd name="T83" fmla="*/ 184 h 2292"/>
                <a:gd name="T84" fmla="*/ 1291 w 2226"/>
                <a:gd name="T85" fmla="*/ 68 h 2292"/>
                <a:gd name="T86" fmla="*/ 1124 w 2226"/>
                <a:gd name="T87" fmla="*/ 135 h 2292"/>
                <a:gd name="T88" fmla="*/ 1003 w 2226"/>
                <a:gd name="T89" fmla="*/ 170 h 2292"/>
                <a:gd name="T90" fmla="*/ 960 w 2226"/>
                <a:gd name="T91" fmla="*/ 187 h 2292"/>
                <a:gd name="T92" fmla="*/ 812 w 2226"/>
                <a:gd name="T93" fmla="*/ 176 h 2292"/>
                <a:gd name="T94" fmla="*/ 811 w 2226"/>
                <a:gd name="T95" fmla="*/ 67 h 2292"/>
                <a:gd name="T96" fmla="*/ 745 w 2226"/>
                <a:gd name="T97" fmla="*/ 0 h 2292"/>
                <a:gd name="T98" fmla="*/ 700 w 2226"/>
                <a:gd name="T99" fmla="*/ 31 h 2292"/>
                <a:gd name="T100" fmla="*/ 589 w 2226"/>
                <a:gd name="T101" fmla="*/ 70 h 2292"/>
                <a:gd name="T102" fmla="*/ 560 w 2226"/>
                <a:gd name="T103" fmla="*/ 198 h 2292"/>
                <a:gd name="T104" fmla="*/ 453 w 2226"/>
                <a:gd name="T105" fmla="*/ 258 h 2292"/>
                <a:gd name="T106" fmla="*/ 286 w 2226"/>
                <a:gd name="T107" fmla="*/ 197 h 2292"/>
                <a:gd name="T108" fmla="*/ 253 w 2226"/>
                <a:gd name="T109" fmla="*/ 240 h 2292"/>
                <a:gd name="T110" fmla="*/ 198 w 2226"/>
                <a:gd name="T111" fmla="*/ 311 h 2292"/>
                <a:gd name="T112" fmla="*/ 246 w 2226"/>
                <a:gd name="T113" fmla="*/ 388 h 2292"/>
                <a:gd name="T114" fmla="*/ 194 w 2226"/>
                <a:gd name="T115" fmla="*/ 560 h 2292"/>
                <a:gd name="T116" fmla="*/ 100 w 2226"/>
                <a:gd name="T117" fmla="*/ 567 h 2292"/>
                <a:gd name="T118" fmla="*/ 16 w 2226"/>
                <a:gd name="T119" fmla="*/ 687 h 2292"/>
                <a:gd name="T120" fmla="*/ 22 w 2226"/>
                <a:gd name="T121" fmla="*/ 824 h 2292"/>
                <a:gd name="T122" fmla="*/ 120 w 2226"/>
                <a:gd name="T123" fmla="*/ 905 h 2292"/>
                <a:gd name="T124" fmla="*/ 191 w 2226"/>
                <a:gd name="T125" fmla="*/ 949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Freeform 10">
              <a:extLst>
                <a:ext uri="{FF2B5EF4-FFF2-40B4-BE49-F238E27FC236}">
                  <a16:creationId xmlns="" xmlns:a16="http://schemas.microsoft.com/office/drawing/2014/main" id="{AA8EF937-680E-C845-8B50-D5385362EF67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289425" y="2454275"/>
              <a:ext cx="69850" cy="49213"/>
            </a:xfrm>
            <a:custGeom>
              <a:avLst/>
              <a:gdLst>
                <a:gd name="T0" fmla="*/ 94 w 161"/>
                <a:gd name="T1" fmla="*/ 0 h 93"/>
                <a:gd name="T2" fmla="*/ 107 w 161"/>
                <a:gd name="T3" fmla="*/ 18 h 93"/>
                <a:gd name="T4" fmla="*/ 112 w 161"/>
                <a:gd name="T5" fmla="*/ 12 h 93"/>
                <a:gd name="T6" fmla="*/ 117 w 161"/>
                <a:gd name="T7" fmla="*/ 8 h 93"/>
                <a:gd name="T8" fmla="*/ 122 w 161"/>
                <a:gd name="T9" fmla="*/ 5 h 93"/>
                <a:gd name="T10" fmla="*/ 127 w 161"/>
                <a:gd name="T11" fmla="*/ 3 h 93"/>
                <a:gd name="T12" fmla="*/ 137 w 161"/>
                <a:gd name="T13" fmla="*/ 1 h 93"/>
                <a:gd name="T14" fmla="*/ 148 w 161"/>
                <a:gd name="T15" fmla="*/ 0 h 93"/>
                <a:gd name="T16" fmla="*/ 151 w 161"/>
                <a:gd name="T17" fmla="*/ 0 h 93"/>
                <a:gd name="T18" fmla="*/ 161 w 161"/>
                <a:gd name="T19" fmla="*/ 0 h 93"/>
                <a:gd name="T20" fmla="*/ 161 w 161"/>
                <a:gd name="T21" fmla="*/ 92 h 93"/>
                <a:gd name="T22" fmla="*/ 155 w 161"/>
                <a:gd name="T23" fmla="*/ 93 h 93"/>
                <a:gd name="T24" fmla="*/ 150 w 161"/>
                <a:gd name="T25" fmla="*/ 93 h 93"/>
                <a:gd name="T26" fmla="*/ 145 w 161"/>
                <a:gd name="T27" fmla="*/ 92 h 93"/>
                <a:gd name="T28" fmla="*/ 140 w 161"/>
                <a:gd name="T29" fmla="*/ 91 h 93"/>
                <a:gd name="T30" fmla="*/ 129 w 161"/>
                <a:gd name="T31" fmla="*/ 88 h 93"/>
                <a:gd name="T32" fmla="*/ 120 w 161"/>
                <a:gd name="T33" fmla="*/ 82 h 93"/>
                <a:gd name="T34" fmla="*/ 111 w 161"/>
                <a:gd name="T35" fmla="*/ 75 h 93"/>
                <a:gd name="T36" fmla="*/ 104 w 161"/>
                <a:gd name="T37" fmla="*/ 67 h 93"/>
                <a:gd name="T38" fmla="*/ 97 w 161"/>
                <a:gd name="T39" fmla="*/ 59 h 93"/>
                <a:gd name="T40" fmla="*/ 94 w 161"/>
                <a:gd name="T41" fmla="*/ 49 h 93"/>
                <a:gd name="T42" fmla="*/ 92 w 161"/>
                <a:gd name="T43" fmla="*/ 50 h 93"/>
                <a:gd name="T44" fmla="*/ 89 w 161"/>
                <a:gd name="T45" fmla="*/ 51 h 93"/>
                <a:gd name="T46" fmla="*/ 86 w 161"/>
                <a:gd name="T47" fmla="*/ 51 h 93"/>
                <a:gd name="T48" fmla="*/ 84 w 161"/>
                <a:gd name="T49" fmla="*/ 51 h 93"/>
                <a:gd name="T50" fmla="*/ 78 w 161"/>
                <a:gd name="T51" fmla="*/ 50 h 93"/>
                <a:gd name="T52" fmla="*/ 74 w 161"/>
                <a:gd name="T53" fmla="*/ 49 h 93"/>
                <a:gd name="T54" fmla="*/ 65 w 161"/>
                <a:gd name="T55" fmla="*/ 48 h 93"/>
                <a:gd name="T56" fmla="*/ 55 w 161"/>
                <a:gd name="T57" fmla="*/ 45 h 93"/>
                <a:gd name="T58" fmla="*/ 44 w 161"/>
                <a:gd name="T59" fmla="*/ 40 h 93"/>
                <a:gd name="T60" fmla="*/ 32 w 161"/>
                <a:gd name="T61" fmla="*/ 34 h 93"/>
                <a:gd name="T62" fmla="*/ 21 w 161"/>
                <a:gd name="T63" fmla="*/ 26 h 93"/>
                <a:gd name="T64" fmla="*/ 12 w 161"/>
                <a:gd name="T65" fmla="*/ 18 h 93"/>
                <a:gd name="T66" fmla="*/ 8 w 161"/>
                <a:gd name="T67" fmla="*/ 14 h 93"/>
                <a:gd name="T68" fmla="*/ 5 w 161"/>
                <a:gd name="T69" fmla="*/ 9 h 93"/>
                <a:gd name="T70" fmla="*/ 3 w 161"/>
                <a:gd name="T71" fmla="*/ 5 h 93"/>
                <a:gd name="T72" fmla="*/ 0 w 161"/>
                <a:gd name="T73" fmla="*/ 0 h 93"/>
                <a:gd name="T74" fmla="*/ 94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Freeform 11">
              <a:extLst>
                <a:ext uri="{FF2B5EF4-FFF2-40B4-BE49-F238E27FC236}">
                  <a16:creationId xmlns="" xmlns:a16="http://schemas.microsoft.com/office/drawing/2014/main" id="{782A1A2D-4680-6F45-B42E-E9BD4F5BF622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787775" y="2328863"/>
              <a:ext cx="82550" cy="160337"/>
            </a:xfrm>
            <a:custGeom>
              <a:avLst/>
              <a:gdLst>
                <a:gd name="T0" fmla="*/ 38 w 192"/>
                <a:gd name="T1" fmla="*/ 3 h 307"/>
                <a:gd name="T2" fmla="*/ 37 w 192"/>
                <a:gd name="T3" fmla="*/ 0 h 307"/>
                <a:gd name="T4" fmla="*/ 57 w 192"/>
                <a:gd name="T5" fmla="*/ 3 h 307"/>
                <a:gd name="T6" fmla="*/ 110 w 192"/>
                <a:gd name="T7" fmla="*/ 14 h 307"/>
                <a:gd name="T8" fmla="*/ 155 w 192"/>
                <a:gd name="T9" fmla="*/ 25 h 307"/>
                <a:gd name="T10" fmla="*/ 181 w 192"/>
                <a:gd name="T11" fmla="*/ 28 h 307"/>
                <a:gd name="T12" fmla="*/ 192 w 192"/>
                <a:gd name="T13" fmla="*/ 35 h 307"/>
                <a:gd name="T14" fmla="*/ 188 w 192"/>
                <a:gd name="T15" fmla="*/ 47 h 307"/>
                <a:gd name="T16" fmla="*/ 175 w 192"/>
                <a:gd name="T17" fmla="*/ 82 h 307"/>
                <a:gd name="T18" fmla="*/ 158 w 192"/>
                <a:gd name="T19" fmla="*/ 127 h 307"/>
                <a:gd name="T20" fmla="*/ 147 w 192"/>
                <a:gd name="T21" fmla="*/ 165 h 307"/>
                <a:gd name="T22" fmla="*/ 146 w 192"/>
                <a:gd name="T23" fmla="*/ 207 h 307"/>
                <a:gd name="T24" fmla="*/ 144 w 192"/>
                <a:gd name="T25" fmla="*/ 249 h 307"/>
                <a:gd name="T26" fmla="*/ 134 w 192"/>
                <a:gd name="T27" fmla="*/ 277 h 307"/>
                <a:gd name="T28" fmla="*/ 106 w 192"/>
                <a:gd name="T29" fmla="*/ 296 h 307"/>
                <a:gd name="T30" fmla="*/ 83 w 192"/>
                <a:gd name="T31" fmla="*/ 303 h 307"/>
                <a:gd name="T32" fmla="*/ 72 w 192"/>
                <a:gd name="T33" fmla="*/ 307 h 307"/>
                <a:gd name="T34" fmla="*/ 52 w 192"/>
                <a:gd name="T35" fmla="*/ 305 h 307"/>
                <a:gd name="T36" fmla="*/ 32 w 192"/>
                <a:gd name="T37" fmla="*/ 291 h 307"/>
                <a:gd name="T38" fmla="*/ 30 w 192"/>
                <a:gd name="T39" fmla="*/ 277 h 307"/>
                <a:gd name="T40" fmla="*/ 22 w 192"/>
                <a:gd name="T41" fmla="*/ 257 h 307"/>
                <a:gd name="T42" fmla="*/ 10 w 192"/>
                <a:gd name="T43" fmla="*/ 231 h 307"/>
                <a:gd name="T44" fmla="*/ 2 w 192"/>
                <a:gd name="T45" fmla="*/ 211 h 307"/>
                <a:gd name="T46" fmla="*/ 0 w 192"/>
                <a:gd name="T47" fmla="*/ 197 h 307"/>
                <a:gd name="T48" fmla="*/ 0 w 192"/>
                <a:gd name="T49" fmla="*/ 180 h 307"/>
                <a:gd name="T50" fmla="*/ 2 w 192"/>
                <a:gd name="T51" fmla="*/ 165 h 307"/>
                <a:gd name="T52" fmla="*/ 11 w 192"/>
                <a:gd name="T53" fmla="*/ 145 h 307"/>
                <a:gd name="T54" fmla="*/ 33 w 192"/>
                <a:gd name="T55" fmla="*/ 109 h 307"/>
                <a:gd name="T56" fmla="*/ 48 w 192"/>
                <a:gd name="T57" fmla="*/ 81 h 307"/>
                <a:gd name="T58" fmla="*/ 52 w 192"/>
                <a:gd name="T59" fmla="*/ 62 h 307"/>
                <a:gd name="T60" fmla="*/ 53 w 192"/>
                <a:gd name="T61" fmla="*/ 41 h 307"/>
                <a:gd name="T62" fmla="*/ 55 w 192"/>
                <a:gd name="T63" fmla="*/ 30 h 307"/>
                <a:gd name="T64" fmla="*/ 57 w 192"/>
                <a:gd name="T65" fmla="*/ 26 h 307"/>
                <a:gd name="T66" fmla="*/ 60 w 192"/>
                <a:gd name="T67" fmla="*/ 22 h 307"/>
                <a:gd name="T68" fmla="*/ 44 w 192"/>
                <a:gd name="T69" fmla="*/ 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Freeform 12">
              <a:extLst>
                <a:ext uri="{FF2B5EF4-FFF2-40B4-BE49-F238E27FC236}">
                  <a16:creationId xmlns="" xmlns:a16="http://schemas.microsoft.com/office/drawing/2014/main" id="{A743BEAC-B76D-FC49-A6C4-27F93D654706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68738" y="1814513"/>
              <a:ext cx="171450" cy="269875"/>
            </a:xfrm>
            <a:custGeom>
              <a:avLst/>
              <a:gdLst>
                <a:gd name="T0" fmla="*/ 26 w 398"/>
                <a:gd name="T1" fmla="*/ 2 h 518"/>
                <a:gd name="T2" fmla="*/ 95 w 398"/>
                <a:gd name="T3" fmla="*/ 13 h 518"/>
                <a:gd name="T4" fmla="*/ 116 w 398"/>
                <a:gd name="T5" fmla="*/ 23 h 518"/>
                <a:gd name="T6" fmla="*/ 80 w 398"/>
                <a:gd name="T7" fmla="*/ 47 h 518"/>
                <a:gd name="T8" fmla="*/ 64 w 398"/>
                <a:gd name="T9" fmla="*/ 62 h 518"/>
                <a:gd name="T10" fmla="*/ 77 w 398"/>
                <a:gd name="T11" fmla="*/ 69 h 518"/>
                <a:gd name="T12" fmla="*/ 167 w 398"/>
                <a:gd name="T13" fmla="*/ 79 h 518"/>
                <a:gd name="T14" fmla="*/ 210 w 398"/>
                <a:gd name="T15" fmla="*/ 109 h 518"/>
                <a:gd name="T16" fmla="*/ 154 w 398"/>
                <a:gd name="T17" fmla="*/ 127 h 518"/>
                <a:gd name="T18" fmla="*/ 147 w 398"/>
                <a:gd name="T19" fmla="*/ 138 h 518"/>
                <a:gd name="T20" fmla="*/ 191 w 398"/>
                <a:gd name="T21" fmla="*/ 143 h 518"/>
                <a:gd name="T22" fmla="*/ 211 w 398"/>
                <a:gd name="T23" fmla="*/ 156 h 518"/>
                <a:gd name="T24" fmla="*/ 243 w 398"/>
                <a:gd name="T25" fmla="*/ 191 h 518"/>
                <a:gd name="T26" fmla="*/ 258 w 398"/>
                <a:gd name="T27" fmla="*/ 212 h 518"/>
                <a:gd name="T28" fmla="*/ 260 w 398"/>
                <a:gd name="T29" fmla="*/ 237 h 518"/>
                <a:gd name="T30" fmla="*/ 272 w 398"/>
                <a:gd name="T31" fmla="*/ 254 h 518"/>
                <a:gd name="T32" fmla="*/ 286 w 398"/>
                <a:gd name="T33" fmla="*/ 279 h 518"/>
                <a:gd name="T34" fmla="*/ 306 w 398"/>
                <a:gd name="T35" fmla="*/ 297 h 518"/>
                <a:gd name="T36" fmla="*/ 327 w 398"/>
                <a:gd name="T37" fmla="*/ 320 h 518"/>
                <a:gd name="T38" fmla="*/ 346 w 398"/>
                <a:gd name="T39" fmla="*/ 337 h 518"/>
                <a:gd name="T40" fmla="*/ 370 w 398"/>
                <a:gd name="T41" fmla="*/ 341 h 518"/>
                <a:gd name="T42" fmla="*/ 396 w 398"/>
                <a:gd name="T43" fmla="*/ 365 h 518"/>
                <a:gd name="T44" fmla="*/ 395 w 398"/>
                <a:gd name="T45" fmla="*/ 395 h 518"/>
                <a:gd name="T46" fmla="*/ 382 w 398"/>
                <a:gd name="T47" fmla="*/ 404 h 518"/>
                <a:gd name="T48" fmla="*/ 367 w 398"/>
                <a:gd name="T49" fmla="*/ 415 h 518"/>
                <a:gd name="T50" fmla="*/ 368 w 398"/>
                <a:gd name="T51" fmla="*/ 426 h 518"/>
                <a:gd name="T52" fmla="*/ 376 w 398"/>
                <a:gd name="T53" fmla="*/ 443 h 518"/>
                <a:gd name="T54" fmla="*/ 359 w 398"/>
                <a:gd name="T55" fmla="*/ 463 h 518"/>
                <a:gd name="T56" fmla="*/ 146 w 398"/>
                <a:gd name="T57" fmla="*/ 500 h 518"/>
                <a:gd name="T58" fmla="*/ 68 w 398"/>
                <a:gd name="T59" fmla="*/ 508 h 518"/>
                <a:gd name="T60" fmla="*/ 53 w 398"/>
                <a:gd name="T61" fmla="*/ 518 h 518"/>
                <a:gd name="T62" fmla="*/ 58 w 398"/>
                <a:gd name="T63" fmla="*/ 493 h 518"/>
                <a:gd name="T64" fmla="*/ 71 w 398"/>
                <a:gd name="T65" fmla="*/ 476 h 518"/>
                <a:gd name="T66" fmla="*/ 114 w 398"/>
                <a:gd name="T67" fmla="*/ 458 h 518"/>
                <a:gd name="T68" fmla="*/ 172 w 398"/>
                <a:gd name="T69" fmla="*/ 439 h 518"/>
                <a:gd name="T70" fmla="*/ 179 w 398"/>
                <a:gd name="T71" fmla="*/ 426 h 518"/>
                <a:gd name="T72" fmla="*/ 171 w 398"/>
                <a:gd name="T73" fmla="*/ 434 h 518"/>
                <a:gd name="T74" fmla="*/ 111 w 398"/>
                <a:gd name="T75" fmla="*/ 432 h 518"/>
                <a:gd name="T76" fmla="*/ 76 w 398"/>
                <a:gd name="T77" fmla="*/ 420 h 518"/>
                <a:gd name="T78" fmla="*/ 77 w 398"/>
                <a:gd name="T79" fmla="*/ 402 h 518"/>
                <a:gd name="T80" fmla="*/ 95 w 398"/>
                <a:gd name="T81" fmla="*/ 391 h 518"/>
                <a:gd name="T82" fmla="*/ 87 w 398"/>
                <a:gd name="T83" fmla="*/ 352 h 518"/>
                <a:gd name="T84" fmla="*/ 105 w 398"/>
                <a:gd name="T85" fmla="*/ 329 h 518"/>
                <a:gd name="T86" fmla="*/ 154 w 398"/>
                <a:gd name="T87" fmla="*/ 309 h 518"/>
                <a:gd name="T88" fmla="*/ 172 w 398"/>
                <a:gd name="T89" fmla="*/ 291 h 518"/>
                <a:gd name="T90" fmla="*/ 148 w 398"/>
                <a:gd name="T91" fmla="*/ 271 h 518"/>
                <a:gd name="T92" fmla="*/ 139 w 398"/>
                <a:gd name="T93" fmla="*/ 247 h 518"/>
                <a:gd name="T94" fmla="*/ 94 w 398"/>
                <a:gd name="T95" fmla="*/ 239 h 518"/>
                <a:gd name="T96" fmla="*/ 80 w 398"/>
                <a:gd name="T97" fmla="*/ 216 h 518"/>
                <a:gd name="T98" fmla="*/ 90 w 398"/>
                <a:gd name="T99" fmla="*/ 192 h 518"/>
                <a:gd name="T100" fmla="*/ 100 w 398"/>
                <a:gd name="T101" fmla="*/ 168 h 518"/>
                <a:gd name="T102" fmla="*/ 73 w 398"/>
                <a:gd name="T103" fmla="*/ 186 h 518"/>
                <a:gd name="T104" fmla="*/ 22 w 398"/>
                <a:gd name="T105" fmla="*/ 162 h 518"/>
                <a:gd name="T106" fmla="*/ 20 w 398"/>
                <a:gd name="T107" fmla="*/ 142 h 518"/>
                <a:gd name="T108" fmla="*/ 14 w 398"/>
                <a:gd name="T109" fmla="*/ 131 h 518"/>
                <a:gd name="T110" fmla="*/ 20 w 398"/>
                <a:gd name="T111" fmla="*/ 63 h 518"/>
                <a:gd name="T112" fmla="*/ 19 w 398"/>
                <a:gd name="T113" fmla="*/ 49 h 518"/>
                <a:gd name="T114" fmla="*/ 4 w 398"/>
                <a:gd name="T115" fmla="*/ 40 h 518"/>
                <a:gd name="T116" fmla="*/ 20 w 398"/>
                <a:gd name="T117" fmla="*/ 19 h 518"/>
                <a:gd name="T118" fmla="*/ 3 w 398"/>
                <a:gd name="T119" fmla="*/ 9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Freeform 13">
              <a:extLst>
                <a:ext uri="{FF2B5EF4-FFF2-40B4-BE49-F238E27FC236}">
                  <a16:creationId xmlns="" xmlns:a16="http://schemas.microsoft.com/office/drawing/2014/main" id="{D0CF0265-8560-ED4C-BEE7-59E93D7732E8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227513" y="2117725"/>
              <a:ext cx="169862" cy="76200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Freeform 14">
              <a:extLst>
                <a:ext uri="{FF2B5EF4-FFF2-40B4-BE49-F238E27FC236}">
                  <a16:creationId xmlns="" xmlns:a16="http://schemas.microsoft.com/office/drawing/2014/main" id="{2CA8D970-2F65-2D49-82F9-F4F4140FC599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5719763" y="1966913"/>
              <a:ext cx="1281112" cy="1038225"/>
            </a:xfrm>
            <a:custGeom>
              <a:avLst/>
              <a:gdLst>
                <a:gd name="T0" fmla="*/ 373 w 2936"/>
                <a:gd name="T1" fmla="*/ 1071 h 1983"/>
                <a:gd name="T2" fmla="*/ 385 w 2936"/>
                <a:gd name="T3" fmla="*/ 1182 h 1983"/>
                <a:gd name="T4" fmla="*/ 478 w 2936"/>
                <a:gd name="T5" fmla="*/ 1358 h 1983"/>
                <a:gd name="T6" fmla="*/ 768 w 2936"/>
                <a:gd name="T7" fmla="*/ 1492 h 1983"/>
                <a:gd name="T8" fmla="*/ 1036 w 2936"/>
                <a:gd name="T9" fmla="*/ 1552 h 1983"/>
                <a:gd name="T10" fmla="*/ 1124 w 2936"/>
                <a:gd name="T11" fmla="*/ 1529 h 1983"/>
                <a:gd name="T12" fmla="*/ 1401 w 2936"/>
                <a:gd name="T13" fmla="*/ 1448 h 1983"/>
                <a:gd name="T14" fmla="*/ 1547 w 2936"/>
                <a:gd name="T15" fmla="*/ 1542 h 1983"/>
                <a:gd name="T16" fmla="*/ 1577 w 2936"/>
                <a:gd name="T17" fmla="*/ 1697 h 1983"/>
                <a:gd name="T18" fmla="*/ 1607 w 2936"/>
                <a:gd name="T19" fmla="*/ 1773 h 1983"/>
                <a:gd name="T20" fmla="*/ 1706 w 2936"/>
                <a:gd name="T21" fmla="*/ 1912 h 1983"/>
                <a:gd name="T22" fmla="*/ 1842 w 2936"/>
                <a:gd name="T23" fmla="*/ 1859 h 1983"/>
                <a:gd name="T24" fmla="*/ 2072 w 2936"/>
                <a:gd name="T25" fmla="*/ 1854 h 1983"/>
                <a:gd name="T26" fmla="*/ 2265 w 2936"/>
                <a:gd name="T27" fmla="*/ 1983 h 1983"/>
                <a:gd name="T28" fmla="*/ 2357 w 2936"/>
                <a:gd name="T29" fmla="*/ 1910 h 1983"/>
                <a:gd name="T30" fmla="*/ 2457 w 2936"/>
                <a:gd name="T31" fmla="*/ 1866 h 1983"/>
                <a:gd name="T32" fmla="*/ 2546 w 2936"/>
                <a:gd name="T33" fmla="*/ 1826 h 1983"/>
                <a:gd name="T34" fmla="*/ 2683 w 2936"/>
                <a:gd name="T35" fmla="*/ 1732 h 1983"/>
                <a:gd name="T36" fmla="*/ 2719 w 2936"/>
                <a:gd name="T37" fmla="*/ 1616 h 1983"/>
                <a:gd name="T38" fmla="*/ 2794 w 2936"/>
                <a:gd name="T39" fmla="*/ 1420 h 1983"/>
                <a:gd name="T40" fmla="*/ 2705 w 2936"/>
                <a:gd name="T41" fmla="*/ 1375 h 1983"/>
                <a:gd name="T42" fmla="*/ 2640 w 2936"/>
                <a:gd name="T43" fmla="*/ 1273 h 1983"/>
                <a:gd name="T44" fmla="*/ 2669 w 2936"/>
                <a:gd name="T45" fmla="*/ 1227 h 1983"/>
                <a:gd name="T46" fmla="*/ 2532 w 2936"/>
                <a:gd name="T47" fmla="*/ 1061 h 1983"/>
                <a:gd name="T48" fmla="*/ 2583 w 2936"/>
                <a:gd name="T49" fmla="*/ 993 h 1983"/>
                <a:gd name="T50" fmla="*/ 2453 w 2936"/>
                <a:gd name="T51" fmla="*/ 962 h 1983"/>
                <a:gd name="T52" fmla="*/ 2333 w 2936"/>
                <a:gd name="T53" fmla="*/ 887 h 1983"/>
                <a:gd name="T54" fmla="*/ 2368 w 2936"/>
                <a:gd name="T55" fmla="*/ 836 h 1983"/>
                <a:gd name="T56" fmla="*/ 2443 w 2936"/>
                <a:gd name="T57" fmla="*/ 756 h 1983"/>
                <a:gd name="T58" fmla="*/ 2496 w 2936"/>
                <a:gd name="T59" fmla="*/ 780 h 1983"/>
                <a:gd name="T60" fmla="*/ 2532 w 2936"/>
                <a:gd name="T61" fmla="*/ 853 h 1983"/>
                <a:gd name="T62" fmla="*/ 2689 w 2936"/>
                <a:gd name="T63" fmla="*/ 763 h 1983"/>
                <a:gd name="T64" fmla="*/ 2828 w 2936"/>
                <a:gd name="T65" fmla="*/ 673 h 1983"/>
                <a:gd name="T66" fmla="*/ 2886 w 2936"/>
                <a:gd name="T67" fmla="*/ 564 h 1983"/>
                <a:gd name="T68" fmla="*/ 2928 w 2936"/>
                <a:gd name="T69" fmla="*/ 494 h 1983"/>
                <a:gd name="T70" fmla="*/ 2893 w 2936"/>
                <a:gd name="T71" fmla="*/ 307 h 1983"/>
                <a:gd name="T72" fmla="*/ 2722 w 2936"/>
                <a:gd name="T73" fmla="*/ 341 h 1983"/>
                <a:gd name="T74" fmla="*/ 2461 w 2936"/>
                <a:gd name="T75" fmla="*/ 205 h 1983"/>
                <a:gd name="T76" fmla="*/ 2300 w 2936"/>
                <a:gd name="T77" fmla="*/ 89 h 1983"/>
                <a:gd name="T78" fmla="*/ 1980 w 2936"/>
                <a:gd name="T79" fmla="*/ 53 h 1983"/>
                <a:gd name="T80" fmla="*/ 2007 w 2936"/>
                <a:gd name="T81" fmla="*/ 155 h 1983"/>
                <a:gd name="T82" fmla="*/ 1952 w 2936"/>
                <a:gd name="T83" fmla="*/ 227 h 1983"/>
                <a:gd name="T84" fmla="*/ 2025 w 2936"/>
                <a:gd name="T85" fmla="*/ 350 h 1983"/>
                <a:gd name="T86" fmla="*/ 2146 w 2936"/>
                <a:gd name="T87" fmla="*/ 370 h 1983"/>
                <a:gd name="T88" fmla="*/ 2041 w 2936"/>
                <a:gd name="T89" fmla="*/ 455 h 1983"/>
                <a:gd name="T90" fmla="*/ 1891 w 2936"/>
                <a:gd name="T91" fmla="*/ 570 h 1983"/>
                <a:gd name="T92" fmla="*/ 1630 w 2936"/>
                <a:gd name="T93" fmla="*/ 713 h 1983"/>
                <a:gd name="T94" fmla="*/ 1228 w 2936"/>
                <a:gd name="T95" fmla="*/ 659 h 1983"/>
                <a:gd name="T96" fmla="*/ 1036 w 2936"/>
                <a:gd name="T97" fmla="*/ 560 h 1983"/>
                <a:gd name="T98" fmla="*/ 752 w 2936"/>
                <a:gd name="T99" fmla="*/ 495 h 1983"/>
                <a:gd name="T100" fmla="*/ 686 w 2936"/>
                <a:gd name="T101" fmla="*/ 379 h 1983"/>
                <a:gd name="T102" fmla="*/ 512 w 2936"/>
                <a:gd name="T103" fmla="*/ 299 h 1983"/>
                <a:gd name="T104" fmla="*/ 430 w 2936"/>
                <a:gd name="T105" fmla="*/ 311 h 1983"/>
                <a:gd name="T106" fmla="*/ 423 w 2936"/>
                <a:gd name="T107" fmla="*/ 388 h 1983"/>
                <a:gd name="T108" fmla="*/ 305 w 2936"/>
                <a:gd name="T109" fmla="*/ 382 h 1983"/>
                <a:gd name="T110" fmla="*/ 227 w 2936"/>
                <a:gd name="T111" fmla="*/ 507 h 1983"/>
                <a:gd name="T112" fmla="*/ 260 w 2936"/>
                <a:gd name="T113" fmla="*/ 595 h 1983"/>
                <a:gd name="T114" fmla="*/ 252 w 2936"/>
                <a:gd name="T115" fmla="*/ 716 h 1983"/>
                <a:gd name="T116" fmla="*/ 118 w 2936"/>
                <a:gd name="T117" fmla="*/ 781 h 1983"/>
                <a:gd name="T118" fmla="*/ 40 w 2936"/>
                <a:gd name="T119" fmla="*/ 894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Freeform 15">
              <a:extLst>
                <a:ext uri="{FF2B5EF4-FFF2-40B4-BE49-F238E27FC236}">
                  <a16:creationId xmlns="" xmlns:a16="http://schemas.microsoft.com/office/drawing/2014/main" id="{2F5F214E-F6EE-5B43-9A04-3F62B3F9F8DF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411663" y="1508125"/>
              <a:ext cx="220662" cy="273050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" name="Freeform 16">
              <a:extLst>
                <a:ext uri="{FF2B5EF4-FFF2-40B4-BE49-F238E27FC236}">
                  <a16:creationId xmlns="" xmlns:a16="http://schemas.microsoft.com/office/drawing/2014/main" id="{7C70415A-7ABE-6648-8504-72DD9968913A}"/>
                </a:ext>
              </a:extLst>
            </p:cNvPr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148138" y="1925638"/>
              <a:ext cx="182562" cy="238125"/>
            </a:xfrm>
            <a:custGeom>
              <a:avLst/>
              <a:gdLst>
                <a:gd name="T0" fmla="*/ 426 w 438"/>
                <a:gd name="T1" fmla="*/ 190 h 451"/>
                <a:gd name="T2" fmla="*/ 408 w 438"/>
                <a:gd name="T3" fmla="*/ 128 h 451"/>
                <a:gd name="T4" fmla="*/ 387 w 438"/>
                <a:gd name="T5" fmla="*/ 85 h 451"/>
                <a:gd name="T6" fmla="*/ 367 w 438"/>
                <a:gd name="T7" fmla="*/ 62 h 451"/>
                <a:gd name="T8" fmla="*/ 356 w 438"/>
                <a:gd name="T9" fmla="*/ 58 h 451"/>
                <a:gd name="T10" fmla="*/ 335 w 438"/>
                <a:gd name="T11" fmla="*/ 45 h 451"/>
                <a:gd name="T12" fmla="*/ 314 w 438"/>
                <a:gd name="T13" fmla="*/ 38 h 451"/>
                <a:gd name="T14" fmla="*/ 293 w 438"/>
                <a:gd name="T15" fmla="*/ 38 h 451"/>
                <a:gd name="T16" fmla="*/ 276 w 438"/>
                <a:gd name="T17" fmla="*/ 42 h 451"/>
                <a:gd name="T18" fmla="*/ 251 w 438"/>
                <a:gd name="T19" fmla="*/ 58 h 451"/>
                <a:gd name="T20" fmla="*/ 235 w 438"/>
                <a:gd name="T21" fmla="*/ 67 h 451"/>
                <a:gd name="T22" fmla="*/ 217 w 438"/>
                <a:gd name="T23" fmla="*/ 66 h 451"/>
                <a:gd name="T24" fmla="*/ 174 w 438"/>
                <a:gd name="T25" fmla="*/ 37 h 451"/>
                <a:gd name="T26" fmla="*/ 113 w 438"/>
                <a:gd name="T27" fmla="*/ 0 h 451"/>
                <a:gd name="T28" fmla="*/ 95 w 438"/>
                <a:gd name="T29" fmla="*/ 23 h 451"/>
                <a:gd name="T30" fmla="*/ 93 w 438"/>
                <a:gd name="T31" fmla="*/ 43 h 451"/>
                <a:gd name="T32" fmla="*/ 98 w 438"/>
                <a:gd name="T33" fmla="*/ 52 h 451"/>
                <a:gd name="T34" fmla="*/ 119 w 438"/>
                <a:gd name="T35" fmla="*/ 69 h 451"/>
                <a:gd name="T36" fmla="*/ 99 w 438"/>
                <a:gd name="T37" fmla="*/ 73 h 451"/>
                <a:gd name="T38" fmla="*/ 66 w 438"/>
                <a:gd name="T39" fmla="*/ 93 h 451"/>
                <a:gd name="T40" fmla="*/ 58 w 438"/>
                <a:gd name="T41" fmla="*/ 119 h 451"/>
                <a:gd name="T42" fmla="*/ 45 w 438"/>
                <a:gd name="T43" fmla="*/ 138 h 451"/>
                <a:gd name="T44" fmla="*/ 35 w 438"/>
                <a:gd name="T45" fmla="*/ 156 h 451"/>
                <a:gd name="T46" fmla="*/ 33 w 438"/>
                <a:gd name="T47" fmla="*/ 179 h 451"/>
                <a:gd name="T48" fmla="*/ 7 w 438"/>
                <a:gd name="T49" fmla="*/ 238 h 451"/>
                <a:gd name="T50" fmla="*/ 15 w 438"/>
                <a:gd name="T51" fmla="*/ 246 h 451"/>
                <a:gd name="T52" fmla="*/ 26 w 438"/>
                <a:gd name="T53" fmla="*/ 247 h 451"/>
                <a:gd name="T54" fmla="*/ 33 w 438"/>
                <a:gd name="T55" fmla="*/ 346 h 451"/>
                <a:gd name="T56" fmla="*/ 93 w 438"/>
                <a:gd name="T57" fmla="*/ 353 h 451"/>
                <a:gd name="T58" fmla="*/ 104 w 438"/>
                <a:gd name="T59" fmla="*/ 376 h 451"/>
                <a:gd name="T60" fmla="*/ 89 w 438"/>
                <a:gd name="T61" fmla="*/ 425 h 451"/>
                <a:gd name="T62" fmla="*/ 109 w 438"/>
                <a:gd name="T63" fmla="*/ 447 h 451"/>
                <a:gd name="T64" fmla="*/ 152 w 438"/>
                <a:gd name="T65" fmla="*/ 447 h 451"/>
                <a:gd name="T66" fmla="*/ 205 w 438"/>
                <a:gd name="T67" fmla="*/ 444 h 451"/>
                <a:gd name="T68" fmla="*/ 276 w 438"/>
                <a:gd name="T69" fmla="*/ 446 h 451"/>
                <a:gd name="T70" fmla="*/ 343 w 438"/>
                <a:gd name="T71" fmla="*/ 442 h 451"/>
                <a:gd name="T72" fmla="*/ 372 w 438"/>
                <a:gd name="T73" fmla="*/ 432 h 451"/>
                <a:gd name="T74" fmla="*/ 359 w 438"/>
                <a:gd name="T75" fmla="*/ 413 h 451"/>
                <a:gd name="T76" fmla="*/ 369 w 438"/>
                <a:gd name="T77" fmla="*/ 403 h 451"/>
                <a:gd name="T78" fmla="*/ 372 w 438"/>
                <a:gd name="T79" fmla="*/ 382 h 451"/>
                <a:gd name="T80" fmla="*/ 380 w 438"/>
                <a:gd name="T81" fmla="*/ 367 h 451"/>
                <a:gd name="T82" fmla="*/ 343 w 438"/>
                <a:gd name="T83" fmla="*/ 344 h 451"/>
                <a:gd name="T84" fmla="*/ 325 w 438"/>
                <a:gd name="T85" fmla="*/ 323 h 451"/>
                <a:gd name="T86" fmla="*/ 311 w 438"/>
                <a:gd name="T87" fmla="*/ 294 h 451"/>
                <a:gd name="T88" fmla="*/ 294 w 438"/>
                <a:gd name="T89" fmla="*/ 277 h 451"/>
                <a:gd name="T90" fmla="*/ 314 w 438"/>
                <a:gd name="T91" fmla="*/ 275 h 451"/>
                <a:gd name="T92" fmla="*/ 346 w 438"/>
                <a:gd name="T93" fmla="*/ 271 h 451"/>
                <a:gd name="T94" fmla="*/ 369 w 438"/>
                <a:gd name="T95" fmla="*/ 260 h 451"/>
                <a:gd name="T96" fmla="*/ 407 w 438"/>
                <a:gd name="T97" fmla="*/ 240 h 451"/>
                <a:gd name="T98" fmla="*/ 438 w 438"/>
                <a:gd name="T99" fmla="*/ 235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Freeform 17">
              <a:extLst>
                <a:ext uri="{FF2B5EF4-FFF2-40B4-BE49-F238E27FC236}">
                  <a16:creationId xmlns="" xmlns:a16="http://schemas.microsoft.com/office/drawing/2014/main" id="{C1D33A7F-0B2F-814D-BBD1-E2EC2DC84396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173538" y="2182813"/>
              <a:ext cx="250825" cy="274637"/>
            </a:xfrm>
            <a:custGeom>
              <a:avLst/>
              <a:gdLst>
                <a:gd name="T0" fmla="*/ 327 w 578"/>
                <a:gd name="T1" fmla="*/ 88 h 524"/>
                <a:gd name="T2" fmla="*/ 312 w 578"/>
                <a:gd name="T3" fmla="*/ 85 h 524"/>
                <a:gd name="T4" fmla="*/ 301 w 578"/>
                <a:gd name="T5" fmla="*/ 79 h 524"/>
                <a:gd name="T6" fmla="*/ 275 w 578"/>
                <a:gd name="T7" fmla="*/ 66 h 524"/>
                <a:gd name="T8" fmla="*/ 251 w 578"/>
                <a:gd name="T9" fmla="*/ 78 h 524"/>
                <a:gd name="T10" fmla="*/ 246 w 578"/>
                <a:gd name="T11" fmla="*/ 105 h 524"/>
                <a:gd name="T12" fmla="*/ 253 w 578"/>
                <a:gd name="T13" fmla="*/ 153 h 524"/>
                <a:gd name="T14" fmla="*/ 270 w 578"/>
                <a:gd name="T15" fmla="*/ 172 h 524"/>
                <a:gd name="T16" fmla="*/ 287 w 578"/>
                <a:gd name="T17" fmla="*/ 178 h 524"/>
                <a:gd name="T18" fmla="*/ 298 w 578"/>
                <a:gd name="T19" fmla="*/ 191 h 524"/>
                <a:gd name="T20" fmla="*/ 351 w 578"/>
                <a:gd name="T21" fmla="*/ 225 h 524"/>
                <a:gd name="T22" fmla="*/ 449 w 578"/>
                <a:gd name="T23" fmla="*/ 309 h 524"/>
                <a:gd name="T24" fmla="*/ 477 w 578"/>
                <a:gd name="T25" fmla="*/ 322 h 524"/>
                <a:gd name="T26" fmla="*/ 504 w 578"/>
                <a:gd name="T27" fmla="*/ 328 h 524"/>
                <a:gd name="T28" fmla="*/ 536 w 578"/>
                <a:gd name="T29" fmla="*/ 356 h 524"/>
                <a:gd name="T30" fmla="*/ 578 w 578"/>
                <a:gd name="T31" fmla="*/ 376 h 524"/>
                <a:gd name="T32" fmla="*/ 565 w 578"/>
                <a:gd name="T33" fmla="*/ 407 h 524"/>
                <a:gd name="T34" fmla="*/ 526 w 578"/>
                <a:gd name="T35" fmla="*/ 383 h 524"/>
                <a:gd name="T36" fmla="*/ 508 w 578"/>
                <a:gd name="T37" fmla="*/ 376 h 524"/>
                <a:gd name="T38" fmla="*/ 498 w 578"/>
                <a:gd name="T39" fmla="*/ 397 h 524"/>
                <a:gd name="T40" fmla="*/ 506 w 578"/>
                <a:gd name="T41" fmla="*/ 426 h 524"/>
                <a:gd name="T42" fmla="*/ 514 w 578"/>
                <a:gd name="T43" fmla="*/ 442 h 524"/>
                <a:gd name="T44" fmla="*/ 500 w 578"/>
                <a:gd name="T45" fmla="*/ 468 h 524"/>
                <a:gd name="T46" fmla="*/ 483 w 578"/>
                <a:gd name="T47" fmla="*/ 505 h 524"/>
                <a:gd name="T48" fmla="*/ 465 w 578"/>
                <a:gd name="T49" fmla="*/ 522 h 524"/>
                <a:gd name="T50" fmla="*/ 436 w 578"/>
                <a:gd name="T51" fmla="*/ 505 h 524"/>
                <a:gd name="T52" fmla="*/ 456 w 578"/>
                <a:gd name="T53" fmla="*/ 484 h 524"/>
                <a:gd name="T54" fmla="*/ 465 w 578"/>
                <a:gd name="T55" fmla="*/ 467 h 524"/>
                <a:gd name="T56" fmla="*/ 461 w 578"/>
                <a:gd name="T57" fmla="*/ 441 h 524"/>
                <a:gd name="T58" fmla="*/ 427 w 578"/>
                <a:gd name="T59" fmla="*/ 395 h 524"/>
                <a:gd name="T60" fmla="*/ 385 w 578"/>
                <a:gd name="T61" fmla="*/ 369 h 524"/>
                <a:gd name="T62" fmla="*/ 355 w 578"/>
                <a:gd name="T63" fmla="*/ 356 h 524"/>
                <a:gd name="T64" fmla="*/ 318 w 578"/>
                <a:gd name="T65" fmla="*/ 330 h 524"/>
                <a:gd name="T66" fmla="*/ 268 w 578"/>
                <a:gd name="T67" fmla="*/ 315 h 524"/>
                <a:gd name="T68" fmla="*/ 218 w 578"/>
                <a:gd name="T69" fmla="*/ 285 h 524"/>
                <a:gd name="T70" fmla="*/ 162 w 578"/>
                <a:gd name="T71" fmla="*/ 229 h 524"/>
                <a:gd name="T72" fmla="*/ 126 w 578"/>
                <a:gd name="T73" fmla="*/ 168 h 524"/>
                <a:gd name="T74" fmla="*/ 77 w 578"/>
                <a:gd name="T75" fmla="*/ 154 h 524"/>
                <a:gd name="T76" fmla="*/ 51 w 578"/>
                <a:gd name="T77" fmla="*/ 157 h 524"/>
                <a:gd name="T78" fmla="*/ 15 w 578"/>
                <a:gd name="T79" fmla="*/ 165 h 524"/>
                <a:gd name="T80" fmla="*/ 3 w 578"/>
                <a:gd name="T81" fmla="*/ 133 h 524"/>
                <a:gd name="T82" fmla="*/ 1 w 578"/>
                <a:gd name="T83" fmla="*/ 93 h 524"/>
                <a:gd name="T84" fmla="*/ 6 w 578"/>
                <a:gd name="T85" fmla="*/ 49 h 524"/>
                <a:gd name="T86" fmla="*/ 45 w 578"/>
                <a:gd name="T87" fmla="*/ 41 h 524"/>
                <a:gd name="T88" fmla="*/ 68 w 578"/>
                <a:gd name="T89" fmla="*/ 33 h 524"/>
                <a:gd name="T90" fmla="*/ 83 w 578"/>
                <a:gd name="T91" fmla="*/ 48 h 524"/>
                <a:gd name="T92" fmla="*/ 104 w 578"/>
                <a:gd name="T93" fmla="*/ 44 h 524"/>
                <a:gd name="T94" fmla="*/ 149 w 578"/>
                <a:gd name="T95" fmla="*/ 16 h 524"/>
                <a:gd name="T96" fmla="*/ 239 w 578"/>
                <a:gd name="T97" fmla="*/ 0 h 524"/>
                <a:gd name="T98" fmla="*/ 257 w 578"/>
                <a:gd name="T99" fmla="*/ 13 h 524"/>
                <a:gd name="T100" fmla="*/ 332 w 578"/>
                <a:gd name="T101" fmla="*/ 19 h 524"/>
                <a:gd name="T102" fmla="*/ 322 w 578"/>
                <a:gd name="T103" fmla="*/ 65 h 524"/>
                <a:gd name="T104" fmla="*/ 325 w 578"/>
                <a:gd name="T105" fmla="*/ 90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9" name="Freeform 18">
              <a:extLst>
                <a:ext uri="{FF2B5EF4-FFF2-40B4-BE49-F238E27FC236}">
                  <a16:creationId xmlns="" xmlns:a16="http://schemas.microsoft.com/office/drawing/2014/main" id="{B6806BD0-8DB8-9246-802C-206D1A140804}"/>
                </a:ext>
              </a:extLst>
            </p:cNvPr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191000" y="2351088"/>
              <a:ext cx="33338" cy="82550"/>
            </a:xfrm>
            <a:custGeom>
              <a:avLst/>
              <a:gdLst>
                <a:gd name="T0" fmla="*/ 0 w 79"/>
                <a:gd name="T1" fmla="*/ 37 h 160"/>
                <a:gd name="T2" fmla="*/ 6 w 79"/>
                <a:gd name="T3" fmla="*/ 37 h 160"/>
                <a:gd name="T4" fmla="*/ 11 w 79"/>
                <a:gd name="T5" fmla="*/ 36 h 160"/>
                <a:gd name="T6" fmla="*/ 16 w 79"/>
                <a:gd name="T7" fmla="*/ 35 h 160"/>
                <a:gd name="T8" fmla="*/ 19 w 79"/>
                <a:gd name="T9" fmla="*/ 33 h 160"/>
                <a:gd name="T10" fmla="*/ 26 w 79"/>
                <a:gd name="T11" fmla="*/ 28 h 160"/>
                <a:gd name="T12" fmla="*/ 31 w 79"/>
                <a:gd name="T13" fmla="*/ 22 h 160"/>
                <a:gd name="T14" fmla="*/ 37 w 79"/>
                <a:gd name="T15" fmla="*/ 16 h 160"/>
                <a:gd name="T16" fmla="*/ 41 w 79"/>
                <a:gd name="T17" fmla="*/ 10 h 160"/>
                <a:gd name="T18" fmla="*/ 46 w 79"/>
                <a:gd name="T19" fmla="*/ 5 h 160"/>
                <a:gd name="T20" fmla="*/ 53 w 79"/>
                <a:gd name="T21" fmla="*/ 0 h 160"/>
                <a:gd name="T22" fmla="*/ 57 w 79"/>
                <a:gd name="T23" fmla="*/ 3 h 160"/>
                <a:gd name="T24" fmla="*/ 62 w 79"/>
                <a:gd name="T25" fmla="*/ 7 h 160"/>
                <a:gd name="T26" fmla="*/ 64 w 79"/>
                <a:gd name="T27" fmla="*/ 10 h 160"/>
                <a:gd name="T28" fmla="*/ 66 w 79"/>
                <a:gd name="T29" fmla="*/ 14 h 160"/>
                <a:gd name="T30" fmla="*/ 69 w 79"/>
                <a:gd name="T31" fmla="*/ 22 h 160"/>
                <a:gd name="T32" fmla="*/ 72 w 79"/>
                <a:gd name="T33" fmla="*/ 32 h 160"/>
                <a:gd name="T34" fmla="*/ 73 w 79"/>
                <a:gd name="T35" fmla="*/ 40 h 160"/>
                <a:gd name="T36" fmla="*/ 74 w 79"/>
                <a:gd name="T37" fmla="*/ 49 h 160"/>
                <a:gd name="T38" fmla="*/ 76 w 79"/>
                <a:gd name="T39" fmla="*/ 58 h 160"/>
                <a:gd name="T40" fmla="*/ 79 w 79"/>
                <a:gd name="T41" fmla="*/ 67 h 160"/>
                <a:gd name="T42" fmla="*/ 79 w 79"/>
                <a:gd name="T43" fmla="*/ 98 h 160"/>
                <a:gd name="T44" fmla="*/ 68 w 79"/>
                <a:gd name="T45" fmla="*/ 115 h 160"/>
                <a:gd name="T46" fmla="*/ 59 w 79"/>
                <a:gd name="T47" fmla="*/ 129 h 160"/>
                <a:gd name="T48" fmla="*/ 53 w 79"/>
                <a:gd name="T49" fmla="*/ 136 h 160"/>
                <a:gd name="T50" fmla="*/ 50 w 79"/>
                <a:gd name="T51" fmla="*/ 144 h 160"/>
                <a:gd name="T52" fmla="*/ 48 w 79"/>
                <a:gd name="T53" fmla="*/ 151 h 160"/>
                <a:gd name="T54" fmla="*/ 46 w 79"/>
                <a:gd name="T55" fmla="*/ 160 h 160"/>
                <a:gd name="T56" fmla="*/ 40 w 79"/>
                <a:gd name="T57" fmla="*/ 155 h 160"/>
                <a:gd name="T58" fmla="*/ 33 w 79"/>
                <a:gd name="T59" fmla="*/ 150 h 160"/>
                <a:gd name="T60" fmla="*/ 28 w 79"/>
                <a:gd name="T61" fmla="*/ 144 h 160"/>
                <a:gd name="T62" fmla="*/ 22 w 79"/>
                <a:gd name="T63" fmla="*/ 137 h 160"/>
                <a:gd name="T64" fmla="*/ 18 w 79"/>
                <a:gd name="T65" fmla="*/ 130 h 160"/>
                <a:gd name="T66" fmla="*/ 15 w 79"/>
                <a:gd name="T67" fmla="*/ 123 h 160"/>
                <a:gd name="T68" fmla="*/ 11 w 79"/>
                <a:gd name="T69" fmla="*/ 115 h 160"/>
                <a:gd name="T70" fmla="*/ 8 w 79"/>
                <a:gd name="T71" fmla="*/ 108 h 160"/>
                <a:gd name="T72" fmla="*/ 4 w 79"/>
                <a:gd name="T73" fmla="*/ 91 h 160"/>
                <a:gd name="T74" fmla="*/ 1 w 79"/>
                <a:gd name="T75" fmla="*/ 73 h 160"/>
                <a:gd name="T76" fmla="*/ 0 w 79"/>
                <a:gd name="T77" fmla="*/ 55 h 160"/>
                <a:gd name="T78" fmla="*/ 0 w 79"/>
                <a:gd name="T79" fmla="*/ 3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0" name="Group 19">
              <a:extLst>
                <a:ext uri="{FF2B5EF4-FFF2-40B4-BE49-F238E27FC236}">
                  <a16:creationId xmlns="" xmlns:a16="http://schemas.microsoft.com/office/drawing/2014/main" id="{8CE90EF1-AB13-694C-9D10-1AF5ECEA6CD9}"/>
                </a:ext>
              </a:extLst>
            </p:cNvPr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6510338" y="3411538"/>
              <a:ext cx="473075" cy="212725"/>
              <a:chOff x="4488" y="2394"/>
              <a:chExt cx="358" cy="124"/>
            </a:xfrm>
          </p:grpSpPr>
          <p:sp>
            <p:nvSpPr>
              <p:cNvPr id="41" name="Freeform 20">
                <a:extLst>
                  <a:ext uri="{FF2B5EF4-FFF2-40B4-BE49-F238E27FC236}">
                    <a16:creationId xmlns="" xmlns:a16="http://schemas.microsoft.com/office/drawing/2014/main" id="{09D27F76-B24A-F34D-95DD-96F3BA8F7E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Freeform 21">
                <a:extLst>
                  <a:ext uri="{FF2B5EF4-FFF2-40B4-BE49-F238E27FC236}">
                    <a16:creationId xmlns="" xmlns:a16="http://schemas.microsoft.com/office/drawing/2014/main" id="{562504A7-5380-834F-9E91-FC3B26A9DA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3" name="Freeform 22">
              <a:extLst>
                <a:ext uri="{FF2B5EF4-FFF2-40B4-BE49-F238E27FC236}">
                  <a16:creationId xmlns="" xmlns:a16="http://schemas.microsoft.com/office/drawing/2014/main" id="{D86A8373-8A2C-8E41-B98B-6298478906D8}"/>
                </a:ext>
              </a:extLst>
            </p:cNvPr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532313" y="1287463"/>
              <a:ext cx="3065462" cy="1074737"/>
            </a:xfrm>
            <a:custGeom>
              <a:avLst/>
              <a:gdLst>
                <a:gd name="T0" fmla="*/ 725 w 7049"/>
                <a:gd name="T1" fmla="*/ 1733 h 2048"/>
                <a:gd name="T2" fmla="*/ 1070 w 7049"/>
                <a:gd name="T3" fmla="*/ 1937 h 2048"/>
                <a:gd name="T4" fmla="*/ 1212 w 7049"/>
                <a:gd name="T5" fmla="*/ 1814 h 2048"/>
                <a:gd name="T6" fmla="*/ 1674 w 7049"/>
                <a:gd name="T7" fmla="*/ 1469 h 2048"/>
                <a:gd name="T8" fmla="*/ 2618 w 7049"/>
                <a:gd name="T9" fmla="*/ 1315 h 2048"/>
                <a:gd name="T10" fmla="*/ 3350 w 7049"/>
                <a:gd name="T11" fmla="*/ 1494 h 2048"/>
                <a:gd name="T12" fmla="*/ 3676 w 7049"/>
                <a:gd name="T13" fmla="*/ 1438 h 2048"/>
                <a:gd name="T14" fmla="*/ 4136 w 7049"/>
                <a:gd name="T15" fmla="*/ 1492 h 2048"/>
                <a:gd name="T16" fmla="*/ 4577 w 7049"/>
                <a:gd name="T17" fmla="*/ 1509 h 2048"/>
                <a:gd name="T18" fmla="*/ 4759 w 7049"/>
                <a:gd name="T19" fmla="*/ 1372 h 2048"/>
                <a:gd name="T20" fmla="*/ 5156 w 7049"/>
                <a:gd name="T21" fmla="*/ 1476 h 2048"/>
                <a:gd name="T22" fmla="*/ 5614 w 7049"/>
                <a:gd name="T23" fmla="*/ 1598 h 2048"/>
                <a:gd name="T24" fmla="*/ 5604 w 7049"/>
                <a:gd name="T25" fmla="*/ 1844 h 2048"/>
                <a:gd name="T26" fmla="*/ 5853 w 7049"/>
                <a:gd name="T27" fmla="*/ 1612 h 2048"/>
                <a:gd name="T28" fmla="*/ 5570 w 7049"/>
                <a:gd name="T29" fmla="*/ 1256 h 2048"/>
                <a:gd name="T30" fmla="*/ 5331 w 7049"/>
                <a:gd name="T31" fmla="*/ 1147 h 2048"/>
                <a:gd name="T32" fmla="*/ 5857 w 7049"/>
                <a:gd name="T33" fmla="*/ 982 h 2048"/>
                <a:gd name="T34" fmla="*/ 5974 w 7049"/>
                <a:gd name="T35" fmla="*/ 822 h 2048"/>
                <a:gd name="T36" fmla="*/ 6132 w 7049"/>
                <a:gd name="T37" fmla="*/ 761 h 2048"/>
                <a:gd name="T38" fmla="*/ 6195 w 7049"/>
                <a:gd name="T39" fmla="*/ 974 h 2048"/>
                <a:gd name="T40" fmla="*/ 6352 w 7049"/>
                <a:gd name="T41" fmla="*/ 1251 h 2048"/>
                <a:gd name="T42" fmla="*/ 6575 w 7049"/>
                <a:gd name="T43" fmla="*/ 1410 h 2048"/>
                <a:gd name="T44" fmla="*/ 6566 w 7049"/>
                <a:gd name="T45" fmla="*/ 1214 h 2048"/>
                <a:gd name="T46" fmla="*/ 6373 w 7049"/>
                <a:gd name="T47" fmla="*/ 1037 h 2048"/>
                <a:gd name="T48" fmla="*/ 6547 w 7049"/>
                <a:gd name="T49" fmla="*/ 885 h 2048"/>
                <a:gd name="T50" fmla="*/ 6801 w 7049"/>
                <a:gd name="T51" fmla="*/ 784 h 2048"/>
                <a:gd name="T52" fmla="*/ 6628 w 7049"/>
                <a:gd name="T53" fmla="*/ 618 h 2048"/>
                <a:gd name="T54" fmla="*/ 6799 w 7049"/>
                <a:gd name="T55" fmla="*/ 636 h 2048"/>
                <a:gd name="T56" fmla="*/ 6861 w 7049"/>
                <a:gd name="T57" fmla="*/ 543 h 2048"/>
                <a:gd name="T58" fmla="*/ 6500 w 7049"/>
                <a:gd name="T59" fmla="*/ 462 h 2048"/>
                <a:gd name="T60" fmla="*/ 5843 w 7049"/>
                <a:gd name="T61" fmla="*/ 410 h 2048"/>
                <a:gd name="T62" fmla="*/ 5693 w 7049"/>
                <a:gd name="T63" fmla="*/ 415 h 2048"/>
                <a:gd name="T64" fmla="*/ 4991 w 7049"/>
                <a:gd name="T65" fmla="*/ 351 h 2048"/>
                <a:gd name="T66" fmla="*/ 4728 w 7049"/>
                <a:gd name="T67" fmla="*/ 290 h 2048"/>
                <a:gd name="T68" fmla="*/ 4412 w 7049"/>
                <a:gd name="T69" fmla="*/ 290 h 2048"/>
                <a:gd name="T70" fmla="*/ 4009 w 7049"/>
                <a:gd name="T71" fmla="*/ 318 h 2048"/>
                <a:gd name="T72" fmla="*/ 3574 w 7049"/>
                <a:gd name="T73" fmla="*/ 261 h 2048"/>
                <a:gd name="T74" fmla="*/ 3290 w 7049"/>
                <a:gd name="T75" fmla="*/ 244 h 2048"/>
                <a:gd name="T76" fmla="*/ 3008 w 7049"/>
                <a:gd name="T77" fmla="*/ 235 h 2048"/>
                <a:gd name="T78" fmla="*/ 2724 w 7049"/>
                <a:gd name="T79" fmla="*/ 58 h 2048"/>
                <a:gd name="T80" fmla="*/ 2617 w 7049"/>
                <a:gd name="T81" fmla="*/ 140 h 2048"/>
                <a:gd name="T82" fmla="*/ 2134 w 7049"/>
                <a:gd name="T83" fmla="*/ 167 h 2048"/>
                <a:gd name="T84" fmla="*/ 2159 w 7049"/>
                <a:gd name="T85" fmla="*/ 200 h 2048"/>
                <a:gd name="T86" fmla="*/ 2198 w 7049"/>
                <a:gd name="T87" fmla="*/ 342 h 2048"/>
                <a:gd name="T88" fmla="*/ 1933 w 7049"/>
                <a:gd name="T89" fmla="*/ 256 h 2048"/>
                <a:gd name="T90" fmla="*/ 1787 w 7049"/>
                <a:gd name="T91" fmla="*/ 273 h 2048"/>
                <a:gd name="T92" fmla="*/ 1917 w 7049"/>
                <a:gd name="T93" fmla="*/ 446 h 2048"/>
                <a:gd name="T94" fmla="*/ 2076 w 7049"/>
                <a:gd name="T95" fmla="*/ 529 h 2048"/>
                <a:gd name="T96" fmla="*/ 1883 w 7049"/>
                <a:gd name="T97" fmla="*/ 593 h 2048"/>
                <a:gd name="T98" fmla="*/ 1832 w 7049"/>
                <a:gd name="T99" fmla="*/ 464 h 2048"/>
                <a:gd name="T100" fmla="*/ 1621 w 7049"/>
                <a:gd name="T101" fmla="*/ 231 h 2048"/>
                <a:gd name="T102" fmla="*/ 1623 w 7049"/>
                <a:gd name="T103" fmla="*/ 451 h 2048"/>
                <a:gd name="T104" fmla="*/ 1238 w 7049"/>
                <a:gd name="T105" fmla="*/ 397 h 2048"/>
                <a:gd name="T106" fmla="*/ 1198 w 7049"/>
                <a:gd name="T107" fmla="*/ 477 h 2048"/>
                <a:gd name="T108" fmla="*/ 908 w 7049"/>
                <a:gd name="T109" fmla="*/ 500 h 2048"/>
                <a:gd name="T110" fmla="*/ 692 w 7049"/>
                <a:gd name="T111" fmla="*/ 483 h 2048"/>
                <a:gd name="T112" fmla="*/ 602 w 7049"/>
                <a:gd name="T113" fmla="*/ 585 h 2048"/>
                <a:gd name="T114" fmla="*/ 407 w 7049"/>
                <a:gd name="T115" fmla="*/ 739 h 2048"/>
                <a:gd name="T116" fmla="*/ 390 w 7049"/>
                <a:gd name="T117" fmla="*/ 612 h 2048"/>
                <a:gd name="T118" fmla="*/ 150 w 7049"/>
                <a:gd name="T119" fmla="*/ 440 h 2048"/>
                <a:gd name="T120" fmla="*/ 71 w 7049"/>
                <a:gd name="T121" fmla="*/ 605 h 2048"/>
                <a:gd name="T122" fmla="*/ 112 w 7049"/>
                <a:gd name="T123" fmla="*/ 958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Freeform 23">
              <a:extLst>
                <a:ext uri="{FF2B5EF4-FFF2-40B4-BE49-F238E27FC236}">
                  <a16:creationId xmlns="" xmlns:a16="http://schemas.microsoft.com/office/drawing/2014/main" id="{A1D1C077-0E8A-2949-B6C9-412E41FDC5F0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3795713" y="2274888"/>
              <a:ext cx="280987" cy="247650"/>
            </a:xfrm>
            <a:custGeom>
              <a:avLst/>
              <a:gdLst>
                <a:gd name="T0" fmla="*/ 406 w 647"/>
                <a:gd name="T1" fmla="*/ 27 h 470"/>
                <a:gd name="T2" fmla="*/ 428 w 647"/>
                <a:gd name="T3" fmla="*/ 45 h 470"/>
                <a:gd name="T4" fmla="*/ 458 w 647"/>
                <a:gd name="T5" fmla="*/ 60 h 470"/>
                <a:gd name="T6" fmla="*/ 512 w 647"/>
                <a:gd name="T7" fmla="*/ 78 h 470"/>
                <a:gd name="T8" fmla="*/ 538 w 647"/>
                <a:gd name="T9" fmla="*/ 81 h 470"/>
                <a:gd name="T10" fmla="*/ 562 w 647"/>
                <a:gd name="T11" fmla="*/ 99 h 470"/>
                <a:gd name="T12" fmla="*/ 567 w 647"/>
                <a:gd name="T13" fmla="*/ 97 h 470"/>
                <a:gd name="T14" fmla="*/ 575 w 647"/>
                <a:gd name="T15" fmla="*/ 85 h 470"/>
                <a:gd name="T16" fmla="*/ 583 w 647"/>
                <a:gd name="T17" fmla="*/ 78 h 470"/>
                <a:gd name="T18" fmla="*/ 603 w 647"/>
                <a:gd name="T19" fmla="*/ 80 h 470"/>
                <a:gd name="T20" fmla="*/ 624 w 647"/>
                <a:gd name="T21" fmla="*/ 79 h 470"/>
                <a:gd name="T22" fmla="*/ 640 w 647"/>
                <a:gd name="T23" fmla="*/ 84 h 470"/>
                <a:gd name="T24" fmla="*/ 646 w 647"/>
                <a:gd name="T25" fmla="*/ 103 h 470"/>
                <a:gd name="T26" fmla="*/ 646 w 647"/>
                <a:gd name="T27" fmla="*/ 123 h 470"/>
                <a:gd name="T28" fmla="*/ 618 w 647"/>
                <a:gd name="T29" fmla="*/ 131 h 470"/>
                <a:gd name="T30" fmla="*/ 586 w 647"/>
                <a:gd name="T31" fmla="*/ 146 h 470"/>
                <a:gd name="T32" fmla="*/ 560 w 647"/>
                <a:gd name="T33" fmla="*/ 165 h 470"/>
                <a:gd name="T34" fmla="*/ 504 w 647"/>
                <a:gd name="T35" fmla="*/ 214 h 470"/>
                <a:gd name="T36" fmla="*/ 489 w 647"/>
                <a:gd name="T37" fmla="*/ 227 h 470"/>
                <a:gd name="T38" fmla="*/ 474 w 647"/>
                <a:gd name="T39" fmla="*/ 254 h 470"/>
                <a:gd name="T40" fmla="*/ 473 w 647"/>
                <a:gd name="T41" fmla="*/ 282 h 470"/>
                <a:gd name="T42" fmla="*/ 473 w 647"/>
                <a:gd name="T43" fmla="*/ 311 h 470"/>
                <a:gd name="T44" fmla="*/ 463 w 647"/>
                <a:gd name="T45" fmla="*/ 340 h 470"/>
                <a:gd name="T46" fmla="*/ 450 w 647"/>
                <a:gd name="T47" fmla="*/ 354 h 470"/>
                <a:gd name="T48" fmla="*/ 411 w 647"/>
                <a:gd name="T49" fmla="*/ 384 h 470"/>
                <a:gd name="T50" fmla="*/ 383 w 647"/>
                <a:gd name="T51" fmla="*/ 411 h 470"/>
                <a:gd name="T52" fmla="*/ 374 w 647"/>
                <a:gd name="T53" fmla="*/ 425 h 470"/>
                <a:gd name="T54" fmla="*/ 369 w 647"/>
                <a:gd name="T55" fmla="*/ 432 h 470"/>
                <a:gd name="T56" fmla="*/ 310 w 647"/>
                <a:gd name="T57" fmla="*/ 429 h 470"/>
                <a:gd name="T58" fmla="*/ 257 w 647"/>
                <a:gd name="T59" fmla="*/ 434 h 470"/>
                <a:gd name="T60" fmla="*/ 224 w 647"/>
                <a:gd name="T61" fmla="*/ 446 h 470"/>
                <a:gd name="T62" fmla="*/ 193 w 647"/>
                <a:gd name="T63" fmla="*/ 467 h 470"/>
                <a:gd name="T64" fmla="*/ 179 w 647"/>
                <a:gd name="T65" fmla="*/ 469 h 470"/>
                <a:gd name="T66" fmla="*/ 169 w 647"/>
                <a:gd name="T67" fmla="*/ 461 h 470"/>
                <a:gd name="T68" fmla="*/ 153 w 647"/>
                <a:gd name="T69" fmla="*/ 432 h 470"/>
                <a:gd name="T70" fmla="*/ 140 w 647"/>
                <a:gd name="T71" fmla="*/ 414 h 470"/>
                <a:gd name="T72" fmla="*/ 122 w 647"/>
                <a:gd name="T73" fmla="*/ 400 h 470"/>
                <a:gd name="T74" fmla="*/ 114 w 647"/>
                <a:gd name="T75" fmla="*/ 379 h 470"/>
                <a:gd name="T76" fmla="*/ 126 w 647"/>
                <a:gd name="T77" fmla="*/ 336 h 470"/>
                <a:gd name="T78" fmla="*/ 127 w 647"/>
                <a:gd name="T79" fmla="*/ 267 h 470"/>
                <a:gd name="T80" fmla="*/ 147 w 647"/>
                <a:gd name="T81" fmla="*/ 206 h 470"/>
                <a:gd name="T82" fmla="*/ 168 w 647"/>
                <a:gd name="T83" fmla="*/ 149 h 470"/>
                <a:gd name="T84" fmla="*/ 172 w 647"/>
                <a:gd name="T85" fmla="*/ 131 h 470"/>
                <a:gd name="T86" fmla="*/ 116 w 647"/>
                <a:gd name="T87" fmla="*/ 123 h 470"/>
                <a:gd name="T88" fmla="*/ 62 w 647"/>
                <a:gd name="T89" fmla="*/ 109 h 470"/>
                <a:gd name="T90" fmla="*/ 17 w 647"/>
                <a:gd name="T91" fmla="*/ 93 h 470"/>
                <a:gd name="T92" fmla="*/ 0 w 647"/>
                <a:gd name="T93" fmla="*/ 38 h 470"/>
                <a:gd name="T94" fmla="*/ 23 w 647"/>
                <a:gd name="T95" fmla="*/ 34 h 470"/>
                <a:gd name="T96" fmla="*/ 51 w 647"/>
                <a:gd name="T97" fmla="*/ 20 h 470"/>
                <a:gd name="T98" fmla="*/ 73 w 647"/>
                <a:gd name="T99" fmla="*/ 4 h 470"/>
                <a:gd name="T100" fmla="*/ 86 w 647"/>
                <a:gd name="T101" fmla="*/ 0 h 470"/>
                <a:gd name="T102" fmla="*/ 132 w 647"/>
                <a:gd name="T103" fmla="*/ 7 h 470"/>
                <a:gd name="T104" fmla="*/ 171 w 647"/>
                <a:gd name="T105" fmla="*/ 17 h 470"/>
                <a:gd name="T106" fmla="*/ 209 w 647"/>
                <a:gd name="T107" fmla="*/ 20 h 470"/>
                <a:gd name="T108" fmla="*/ 235 w 647"/>
                <a:gd name="T109" fmla="*/ 29 h 470"/>
                <a:gd name="T110" fmla="*/ 258 w 647"/>
                <a:gd name="T111" fmla="*/ 37 h 470"/>
                <a:gd name="T112" fmla="*/ 385 w 647"/>
                <a:gd name="T113" fmla="*/ 26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Freeform 24">
              <a:extLst>
                <a:ext uri="{FF2B5EF4-FFF2-40B4-BE49-F238E27FC236}">
                  <a16:creationId xmlns="" xmlns:a16="http://schemas.microsoft.com/office/drawing/2014/main" id="{CA46B0E7-3943-EC4D-91D4-EFA470152139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6427788" y="3013075"/>
              <a:ext cx="207962" cy="455613"/>
            </a:xfrm>
            <a:custGeom>
              <a:avLst/>
              <a:gdLst>
                <a:gd name="T0" fmla="*/ 379 w 479"/>
                <a:gd name="T1" fmla="*/ 357 h 868"/>
                <a:gd name="T2" fmla="*/ 333 w 479"/>
                <a:gd name="T3" fmla="*/ 370 h 868"/>
                <a:gd name="T4" fmla="*/ 314 w 479"/>
                <a:gd name="T5" fmla="*/ 390 h 868"/>
                <a:gd name="T6" fmla="*/ 316 w 479"/>
                <a:gd name="T7" fmla="*/ 428 h 868"/>
                <a:gd name="T8" fmla="*/ 352 w 479"/>
                <a:gd name="T9" fmla="*/ 492 h 868"/>
                <a:gd name="T10" fmla="*/ 359 w 479"/>
                <a:gd name="T11" fmla="*/ 530 h 868"/>
                <a:gd name="T12" fmla="*/ 366 w 479"/>
                <a:gd name="T13" fmla="*/ 555 h 868"/>
                <a:gd name="T14" fmla="*/ 323 w 479"/>
                <a:gd name="T15" fmla="*/ 526 h 868"/>
                <a:gd name="T16" fmla="*/ 309 w 479"/>
                <a:gd name="T17" fmla="*/ 492 h 868"/>
                <a:gd name="T18" fmla="*/ 269 w 479"/>
                <a:gd name="T19" fmla="*/ 467 h 868"/>
                <a:gd name="T20" fmla="*/ 210 w 479"/>
                <a:gd name="T21" fmla="*/ 439 h 868"/>
                <a:gd name="T22" fmla="*/ 193 w 479"/>
                <a:gd name="T23" fmla="*/ 406 h 868"/>
                <a:gd name="T24" fmla="*/ 156 w 479"/>
                <a:gd name="T25" fmla="*/ 477 h 868"/>
                <a:gd name="T26" fmla="*/ 156 w 479"/>
                <a:gd name="T27" fmla="*/ 524 h 868"/>
                <a:gd name="T28" fmla="*/ 132 w 479"/>
                <a:gd name="T29" fmla="*/ 575 h 868"/>
                <a:gd name="T30" fmla="*/ 128 w 479"/>
                <a:gd name="T31" fmla="*/ 621 h 868"/>
                <a:gd name="T32" fmla="*/ 154 w 479"/>
                <a:gd name="T33" fmla="*/ 650 h 868"/>
                <a:gd name="T34" fmla="*/ 175 w 479"/>
                <a:gd name="T35" fmla="*/ 685 h 868"/>
                <a:gd name="T36" fmla="*/ 185 w 479"/>
                <a:gd name="T37" fmla="*/ 730 h 868"/>
                <a:gd name="T38" fmla="*/ 226 w 479"/>
                <a:gd name="T39" fmla="*/ 780 h 868"/>
                <a:gd name="T40" fmla="*/ 281 w 479"/>
                <a:gd name="T41" fmla="*/ 825 h 868"/>
                <a:gd name="T42" fmla="*/ 340 w 479"/>
                <a:gd name="T43" fmla="*/ 850 h 868"/>
                <a:gd name="T44" fmla="*/ 298 w 479"/>
                <a:gd name="T45" fmla="*/ 867 h 868"/>
                <a:gd name="T46" fmla="*/ 269 w 479"/>
                <a:gd name="T47" fmla="*/ 864 h 868"/>
                <a:gd name="T48" fmla="*/ 229 w 479"/>
                <a:gd name="T49" fmla="*/ 841 h 868"/>
                <a:gd name="T50" fmla="*/ 200 w 479"/>
                <a:gd name="T51" fmla="*/ 823 h 868"/>
                <a:gd name="T52" fmla="*/ 137 w 479"/>
                <a:gd name="T53" fmla="*/ 759 h 868"/>
                <a:gd name="T54" fmla="*/ 83 w 479"/>
                <a:gd name="T55" fmla="*/ 730 h 868"/>
                <a:gd name="T56" fmla="*/ 74 w 479"/>
                <a:gd name="T57" fmla="*/ 688 h 868"/>
                <a:gd name="T58" fmla="*/ 80 w 479"/>
                <a:gd name="T59" fmla="*/ 653 h 868"/>
                <a:gd name="T60" fmla="*/ 88 w 479"/>
                <a:gd name="T61" fmla="*/ 617 h 868"/>
                <a:gd name="T62" fmla="*/ 120 w 479"/>
                <a:gd name="T63" fmla="*/ 498 h 868"/>
                <a:gd name="T64" fmla="*/ 108 w 479"/>
                <a:gd name="T65" fmla="*/ 404 h 868"/>
                <a:gd name="T66" fmla="*/ 62 w 479"/>
                <a:gd name="T67" fmla="*/ 319 h 868"/>
                <a:gd name="T68" fmla="*/ 64 w 479"/>
                <a:gd name="T69" fmla="*/ 285 h 868"/>
                <a:gd name="T70" fmla="*/ 74 w 479"/>
                <a:gd name="T71" fmla="*/ 265 h 868"/>
                <a:gd name="T72" fmla="*/ 56 w 479"/>
                <a:gd name="T73" fmla="*/ 202 h 868"/>
                <a:gd name="T74" fmla="*/ 23 w 479"/>
                <a:gd name="T75" fmla="*/ 158 h 868"/>
                <a:gd name="T76" fmla="*/ 1 w 479"/>
                <a:gd name="T77" fmla="*/ 102 h 868"/>
                <a:gd name="T78" fmla="*/ 11 w 479"/>
                <a:gd name="T79" fmla="*/ 44 h 868"/>
                <a:gd name="T80" fmla="*/ 49 w 479"/>
                <a:gd name="T81" fmla="*/ 16 h 868"/>
                <a:gd name="T82" fmla="*/ 120 w 479"/>
                <a:gd name="T83" fmla="*/ 0 h 868"/>
                <a:gd name="T84" fmla="*/ 156 w 479"/>
                <a:gd name="T85" fmla="*/ 28 h 868"/>
                <a:gd name="T86" fmla="*/ 179 w 479"/>
                <a:gd name="T87" fmla="*/ 36 h 868"/>
                <a:gd name="T88" fmla="*/ 197 w 479"/>
                <a:gd name="T89" fmla="*/ 136 h 868"/>
                <a:gd name="T90" fmla="*/ 213 w 479"/>
                <a:gd name="T91" fmla="*/ 166 h 868"/>
                <a:gd name="T92" fmla="*/ 231 w 479"/>
                <a:gd name="T93" fmla="*/ 155 h 868"/>
                <a:gd name="T94" fmla="*/ 258 w 479"/>
                <a:gd name="T95" fmla="*/ 126 h 868"/>
                <a:gd name="T96" fmla="*/ 281 w 479"/>
                <a:gd name="T97" fmla="*/ 141 h 868"/>
                <a:gd name="T98" fmla="*/ 298 w 479"/>
                <a:gd name="T99" fmla="*/ 136 h 868"/>
                <a:gd name="T100" fmla="*/ 316 w 479"/>
                <a:gd name="T101" fmla="*/ 108 h 868"/>
                <a:gd name="T102" fmla="*/ 346 w 479"/>
                <a:gd name="T103" fmla="*/ 108 h 868"/>
                <a:gd name="T104" fmla="*/ 387 w 479"/>
                <a:gd name="T105" fmla="*/ 157 h 868"/>
                <a:gd name="T106" fmla="*/ 454 w 479"/>
                <a:gd name="T107" fmla="*/ 246 h 868"/>
                <a:gd name="T108" fmla="*/ 478 w 479"/>
                <a:gd name="T109" fmla="*/ 307 h 868"/>
                <a:gd name="T110" fmla="*/ 468 w 479"/>
                <a:gd name="T111" fmla="*/ 338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Freeform 25">
              <a:extLst>
                <a:ext uri="{FF2B5EF4-FFF2-40B4-BE49-F238E27FC236}">
                  <a16:creationId xmlns="" xmlns:a16="http://schemas.microsoft.com/office/drawing/2014/main" id="{CDCB929B-287B-DA49-A27C-17C3A9DCA2D7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Line 26" descr="Horizontal dunkel">
              <a:extLst>
                <a:ext uri="{FF2B5EF4-FFF2-40B4-BE49-F238E27FC236}">
                  <a16:creationId xmlns="" xmlns:a16="http://schemas.microsoft.com/office/drawing/2014/main" id="{48470242-D416-324F-9EEA-6E709713D765}"/>
                </a:ext>
              </a:extLst>
            </p:cNvPr>
            <p:cNvSpPr>
              <a:spLocks noChangeShapeType="1"/>
            </p:cNvSpPr>
            <p:nvPr>
              <p:custDataLst>
                <p:tags r:id="rId21"/>
              </p:custDataLst>
            </p:nvPr>
          </p:nvSpPr>
          <p:spPr bwMode="auto">
            <a:xfrm>
              <a:off x="998538" y="2322513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Freeform 27">
              <a:extLst>
                <a:ext uri="{FF2B5EF4-FFF2-40B4-BE49-F238E27FC236}">
                  <a16:creationId xmlns="" xmlns:a16="http://schemas.microsoft.com/office/drawing/2014/main" id="{F9CE51B9-BDF2-1B42-8282-4AA2E40DC4AD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1001713" y="2319338"/>
              <a:ext cx="3175" cy="55562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19 h 24"/>
                <a:gd name="T4" fmla="*/ 1 w 6"/>
                <a:gd name="T5" fmla="*/ 14 h 24"/>
                <a:gd name="T6" fmla="*/ 3 w 6"/>
                <a:gd name="T7" fmla="*/ 8 h 24"/>
                <a:gd name="T8" fmla="*/ 6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" name="Freeform 28">
              <a:extLst>
                <a:ext uri="{FF2B5EF4-FFF2-40B4-BE49-F238E27FC236}">
                  <a16:creationId xmlns="" xmlns:a16="http://schemas.microsoft.com/office/drawing/2014/main" id="{B8A1F16A-FF45-3644-94AE-AE7A0995119E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977900" y="2373313"/>
              <a:ext cx="23813" cy="57150"/>
            </a:xfrm>
            <a:custGeom>
              <a:avLst/>
              <a:gdLst>
                <a:gd name="T0" fmla="*/ 0 w 47"/>
                <a:gd name="T1" fmla="*/ 24 h 67"/>
                <a:gd name="T2" fmla="*/ 0 w 47"/>
                <a:gd name="T3" fmla="*/ 30 h 67"/>
                <a:gd name="T4" fmla="*/ 2 w 47"/>
                <a:gd name="T5" fmla="*/ 36 h 67"/>
                <a:gd name="T6" fmla="*/ 3 w 47"/>
                <a:gd name="T7" fmla="*/ 42 h 67"/>
                <a:gd name="T8" fmla="*/ 5 w 47"/>
                <a:gd name="T9" fmla="*/ 47 h 67"/>
                <a:gd name="T10" fmla="*/ 9 w 47"/>
                <a:gd name="T11" fmla="*/ 58 h 67"/>
                <a:gd name="T12" fmla="*/ 14 w 47"/>
                <a:gd name="T13" fmla="*/ 67 h 67"/>
                <a:gd name="T14" fmla="*/ 47 w 47"/>
                <a:gd name="T15" fmla="*/ 67 h 67"/>
                <a:gd name="T16" fmla="*/ 47 w 47"/>
                <a:gd name="T17" fmla="*/ 0 h 67"/>
                <a:gd name="T18" fmla="*/ 36 w 47"/>
                <a:gd name="T19" fmla="*/ 2 h 67"/>
                <a:gd name="T20" fmla="*/ 26 w 47"/>
                <a:gd name="T21" fmla="*/ 4 h 67"/>
                <a:gd name="T22" fmla="*/ 18 w 47"/>
                <a:gd name="T23" fmla="*/ 7 h 67"/>
                <a:gd name="T24" fmla="*/ 11 w 47"/>
                <a:gd name="T25" fmla="*/ 9 h 67"/>
                <a:gd name="T26" fmla="*/ 6 w 47"/>
                <a:gd name="T27" fmla="*/ 12 h 67"/>
                <a:gd name="T28" fmla="*/ 3 w 47"/>
                <a:gd name="T29" fmla="*/ 16 h 67"/>
                <a:gd name="T30" fmla="*/ 0 w 47"/>
                <a:gd name="T31" fmla="*/ 20 h 67"/>
                <a:gd name="T32" fmla="*/ 0 w 47"/>
                <a:gd name="T33" fmla="*/ 24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" name="Freeform 29">
              <a:extLst>
                <a:ext uri="{FF2B5EF4-FFF2-40B4-BE49-F238E27FC236}">
                  <a16:creationId xmlns="" xmlns:a16="http://schemas.microsoft.com/office/drawing/2014/main" id="{0E56BE08-C303-2B44-B6A3-E58B7DFE7116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303463" y="2368550"/>
              <a:ext cx="49212" cy="57150"/>
            </a:xfrm>
            <a:custGeom>
              <a:avLst/>
              <a:gdLst>
                <a:gd name="T0" fmla="*/ 0 w 112"/>
                <a:gd name="T1" fmla="*/ 36 h 36"/>
                <a:gd name="T2" fmla="*/ 59 w 112"/>
                <a:gd name="T3" fmla="*/ 36 h 36"/>
                <a:gd name="T4" fmla="*/ 67 w 112"/>
                <a:gd name="T5" fmla="*/ 30 h 36"/>
                <a:gd name="T6" fmla="*/ 75 w 112"/>
                <a:gd name="T7" fmla="*/ 26 h 36"/>
                <a:gd name="T8" fmla="*/ 84 w 112"/>
                <a:gd name="T9" fmla="*/ 23 h 36"/>
                <a:gd name="T10" fmla="*/ 91 w 112"/>
                <a:gd name="T11" fmla="*/ 20 h 36"/>
                <a:gd name="T12" fmla="*/ 98 w 112"/>
                <a:gd name="T13" fmla="*/ 17 h 36"/>
                <a:gd name="T14" fmla="*/ 104 w 112"/>
                <a:gd name="T15" fmla="*/ 13 h 36"/>
                <a:gd name="T16" fmla="*/ 107 w 112"/>
                <a:gd name="T17" fmla="*/ 11 h 36"/>
                <a:gd name="T18" fmla="*/ 109 w 112"/>
                <a:gd name="T19" fmla="*/ 8 h 36"/>
                <a:gd name="T20" fmla="*/ 111 w 112"/>
                <a:gd name="T21" fmla="*/ 4 h 36"/>
                <a:gd name="T22" fmla="*/ 112 w 112"/>
                <a:gd name="T23" fmla="*/ 0 h 36"/>
                <a:gd name="T24" fmla="*/ 100 w 112"/>
                <a:gd name="T25" fmla="*/ 0 h 36"/>
                <a:gd name="T26" fmla="*/ 85 w 112"/>
                <a:gd name="T27" fmla="*/ 1 h 36"/>
                <a:gd name="T28" fmla="*/ 67 w 112"/>
                <a:gd name="T29" fmla="*/ 3 h 36"/>
                <a:gd name="T30" fmla="*/ 48 w 112"/>
                <a:gd name="T31" fmla="*/ 7 h 36"/>
                <a:gd name="T32" fmla="*/ 40 w 112"/>
                <a:gd name="T33" fmla="*/ 9 h 36"/>
                <a:gd name="T34" fmla="*/ 31 w 112"/>
                <a:gd name="T35" fmla="*/ 11 h 36"/>
                <a:gd name="T36" fmla="*/ 23 w 112"/>
                <a:gd name="T37" fmla="*/ 14 h 36"/>
                <a:gd name="T38" fmla="*/ 17 w 112"/>
                <a:gd name="T39" fmla="*/ 18 h 36"/>
                <a:gd name="T40" fmla="*/ 10 w 112"/>
                <a:gd name="T41" fmla="*/ 22 h 36"/>
                <a:gd name="T42" fmla="*/ 6 w 112"/>
                <a:gd name="T43" fmla="*/ 26 h 36"/>
                <a:gd name="T44" fmla="*/ 1 w 112"/>
                <a:gd name="T45" fmla="*/ 31 h 36"/>
                <a:gd name="T46" fmla="*/ 0 w 112"/>
                <a:gd name="T47" fmla="*/ 36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" name="Freeform 30">
              <a:extLst>
                <a:ext uri="{FF2B5EF4-FFF2-40B4-BE49-F238E27FC236}">
                  <a16:creationId xmlns="" xmlns:a16="http://schemas.microsoft.com/office/drawing/2014/main" id="{36D3D1F1-3086-684F-A345-A17C353BA94B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041900" y="1925638"/>
              <a:ext cx="874713" cy="452437"/>
            </a:xfrm>
            <a:custGeom>
              <a:avLst/>
              <a:gdLst>
                <a:gd name="T0" fmla="*/ 433 w 2006"/>
                <a:gd name="T1" fmla="*/ 765 h 863"/>
                <a:gd name="T2" fmla="*/ 412 w 2006"/>
                <a:gd name="T3" fmla="*/ 764 h 863"/>
                <a:gd name="T4" fmla="*/ 390 w 2006"/>
                <a:gd name="T5" fmla="*/ 794 h 863"/>
                <a:gd name="T6" fmla="*/ 375 w 2006"/>
                <a:gd name="T7" fmla="*/ 792 h 863"/>
                <a:gd name="T8" fmla="*/ 370 w 2006"/>
                <a:gd name="T9" fmla="*/ 751 h 863"/>
                <a:gd name="T10" fmla="*/ 324 w 2006"/>
                <a:gd name="T11" fmla="*/ 724 h 863"/>
                <a:gd name="T12" fmla="*/ 312 w 2006"/>
                <a:gd name="T13" fmla="*/ 708 h 863"/>
                <a:gd name="T14" fmla="*/ 288 w 2006"/>
                <a:gd name="T15" fmla="*/ 692 h 863"/>
                <a:gd name="T16" fmla="*/ 251 w 2006"/>
                <a:gd name="T17" fmla="*/ 641 h 863"/>
                <a:gd name="T18" fmla="*/ 232 w 2006"/>
                <a:gd name="T19" fmla="*/ 610 h 863"/>
                <a:gd name="T20" fmla="*/ 253 w 2006"/>
                <a:gd name="T21" fmla="*/ 594 h 863"/>
                <a:gd name="T22" fmla="*/ 279 w 2006"/>
                <a:gd name="T23" fmla="*/ 573 h 863"/>
                <a:gd name="T24" fmla="*/ 338 w 2006"/>
                <a:gd name="T25" fmla="*/ 544 h 863"/>
                <a:gd name="T26" fmla="*/ 319 w 2006"/>
                <a:gd name="T27" fmla="*/ 487 h 863"/>
                <a:gd name="T28" fmla="*/ 258 w 2006"/>
                <a:gd name="T29" fmla="*/ 475 h 863"/>
                <a:gd name="T30" fmla="*/ 209 w 2006"/>
                <a:gd name="T31" fmla="*/ 470 h 863"/>
                <a:gd name="T32" fmla="*/ 157 w 2006"/>
                <a:gd name="T33" fmla="*/ 495 h 863"/>
                <a:gd name="T34" fmla="*/ 106 w 2006"/>
                <a:gd name="T35" fmla="*/ 505 h 863"/>
                <a:gd name="T36" fmla="*/ 27 w 2006"/>
                <a:gd name="T37" fmla="*/ 413 h 863"/>
                <a:gd name="T38" fmla="*/ 20 w 2006"/>
                <a:gd name="T39" fmla="*/ 283 h 863"/>
                <a:gd name="T40" fmla="*/ 113 w 2006"/>
                <a:gd name="T41" fmla="*/ 259 h 863"/>
                <a:gd name="T42" fmla="*/ 292 w 2006"/>
                <a:gd name="T43" fmla="*/ 222 h 863"/>
                <a:gd name="T44" fmla="*/ 498 w 2006"/>
                <a:gd name="T45" fmla="*/ 253 h 863"/>
                <a:gd name="T46" fmla="*/ 717 w 2006"/>
                <a:gd name="T47" fmla="*/ 253 h 863"/>
                <a:gd name="T48" fmla="*/ 658 w 2006"/>
                <a:gd name="T49" fmla="*/ 185 h 863"/>
                <a:gd name="T50" fmla="*/ 830 w 2006"/>
                <a:gd name="T51" fmla="*/ 68 h 863"/>
                <a:gd name="T52" fmla="*/ 1050 w 2006"/>
                <a:gd name="T53" fmla="*/ 13 h 863"/>
                <a:gd name="T54" fmla="*/ 1176 w 2006"/>
                <a:gd name="T55" fmla="*/ 61 h 863"/>
                <a:gd name="T56" fmla="*/ 1296 w 2006"/>
                <a:gd name="T57" fmla="*/ 111 h 863"/>
                <a:gd name="T58" fmla="*/ 1442 w 2006"/>
                <a:gd name="T59" fmla="*/ 99 h 863"/>
                <a:gd name="T60" fmla="*/ 1647 w 2006"/>
                <a:gd name="T61" fmla="*/ 271 h 863"/>
                <a:gd name="T62" fmla="*/ 1793 w 2006"/>
                <a:gd name="T63" fmla="*/ 265 h 863"/>
                <a:gd name="T64" fmla="*/ 2000 w 2006"/>
                <a:gd name="T65" fmla="*/ 339 h 863"/>
                <a:gd name="T66" fmla="*/ 2002 w 2006"/>
                <a:gd name="T67" fmla="*/ 381 h 863"/>
                <a:gd name="T68" fmla="*/ 1981 w 2006"/>
                <a:gd name="T69" fmla="*/ 399 h 863"/>
                <a:gd name="T70" fmla="*/ 1960 w 2006"/>
                <a:gd name="T71" fmla="*/ 404 h 863"/>
                <a:gd name="T72" fmla="*/ 1963 w 2006"/>
                <a:gd name="T73" fmla="*/ 425 h 863"/>
                <a:gd name="T74" fmla="*/ 1985 w 2006"/>
                <a:gd name="T75" fmla="*/ 466 h 863"/>
                <a:gd name="T76" fmla="*/ 1979 w 2006"/>
                <a:gd name="T77" fmla="*/ 478 h 863"/>
                <a:gd name="T78" fmla="*/ 1939 w 2006"/>
                <a:gd name="T79" fmla="*/ 481 h 863"/>
                <a:gd name="T80" fmla="*/ 1893 w 2006"/>
                <a:gd name="T81" fmla="*/ 474 h 863"/>
                <a:gd name="T82" fmla="*/ 1864 w 2006"/>
                <a:gd name="T83" fmla="*/ 474 h 863"/>
                <a:gd name="T84" fmla="*/ 1878 w 2006"/>
                <a:gd name="T85" fmla="*/ 548 h 863"/>
                <a:gd name="T86" fmla="*/ 1880 w 2006"/>
                <a:gd name="T87" fmla="*/ 586 h 863"/>
                <a:gd name="T88" fmla="*/ 1789 w 2006"/>
                <a:gd name="T89" fmla="*/ 588 h 863"/>
                <a:gd name="T90" fmla="*/ 1768 w 2006"/>
                <a:gd name="T91" fmla="*/ 604 h 863"/>
                <a:gd name="T92" fmla="*/ 1795 w 2006"/>
                <a:gd name="T93" fmla="*/ 619 h 863"/>
                <a:gd name="T94" fmla="*/ 1814 w 2006"/>
                <a:gd name="T95" fmla="*/ 650 h 863"/>
                <a:gd name="T96" fmla="*/ 1834 w 2006"/>
                <a:gd name="T97" fmla="*/ 689 h 863"/>
                <a:gd name="T98" fmla="*/ 1837 w 2006"/>
                <a:gd name="T99" fmla="*/ 706 h 863"/>
                <a:gd name="T100" fmla="*/ 1837 w 2006"/>
                <a:gd name="T101" fmla="*/ 754 h 863"/>
                <a:gd name="T102" fmla="*/ 1741 w 2006"/>
                <a:gd name="T103" fmla="*/ 740 h 863"/>
                <a:gd name="T104" fmla="*/ 1475 w 2006"/>
                <a:gd name="T105" fmla="*/ 764 h 863"/>
                <a:gd name="T106" fmla="*/ 1316 w 2006"/>
                <a:gd name="T107" fmla="*/ 795 h 863"/>
                <a:gd name="T108" fmla="*/ 1142 w 2006"/>
                <a:gd name="T109" fmla="*/ 838 h 863"/>
                <a:gd name="T110" fmla="*/ 963 w 2006"/>
                <a:gd name="T111" fmla="*/ 697 h 863"/>
                <a:gd name="T112" fmla="*/ 684 w 2006"/>
                <a:gd name="T113" fmla="*/ 586 h 863"/>
                <a:gd name="T114" fmla="*/ 584 w 2006"/>
                <a:gd name="T115" fmla="*/ 832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" name="Freeform 31">
              <a:extLst>
                <a:ext uri="{FF2B5EF4-FFF2-40B4-BE49-F238E27FC236}">
                  <a16:creationId xmlns="" xmlns:a16="http://schemas.microsoft.com/office/drawing/2014/main" id="{9F71DAD4-294D-0A4E-8A83-361D062E9267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272088" y="2228850"/>
              <a:ext cx="409575" cy="249238"/>
            </a:xfrm>
            <a:custGeom>
              <a:avLst/>
              <a:gdLst>
                <a:gd name="T0" fmla="*/ 638 w 950"/>
                <a:gd name="T1" fmla="*/ 443 h 468"/>
                <a:gd name="T2" fmla="*/ 558 w 950"/>
                <a:gd name="T3" fmla="*/ 418 h 468"/>
                <a:gd name="T4" fmla="*/ 471 w 950"/>
                <a:gd name="T5" fmla="*/ 376 h 468"/>
                <a:gd name="T6" fmla="*/ 392 w 950"/>
                <a:gd name="T7" fmla="*/ 307 h 468"/>
                <a:gd name="T8" fmla="*/ 305 w 950"/>
                <a:gd name="T9" fmla="*/ 258 h 468"/>
                <a:gd name="T10" fmla="*/ 253 w 950"/>
                <a:gd name="T11" fmla="*/ 209 h 468"/>
                <a:gd name="T12" fmla="*/ 186 w 950"/>
                <a:gd name="T13" fmla="*/ 172 h 468"/>
                <a:gd name="T14" fmla="*/ 133 w 950"/>
                <a:gd name="T15" fmla="*/ 190 h 468"/>
                <a:gd name="T16" fmla="*/ 99 w 950"/>
                <a:gd name="T17" fmla="*/ 240 h 468"/>
                <a:gd name="T18" fmla="*/ 40 w 950"/>
                <a:gd name="T19" fmla="*/ 246 h 468"/>
                <a:gd name="T20" fmla="*/ 0 w 950"/>
                <a:gd name="T21" fmla="*/ 24 h 468"/>
                <a:gd name="T22" fmla="*/ 79 w 950"/>
                <a:gd name="T23" fmla="*/ 6 h 468"/>
                <a:gd name="T24" fmla="*/ 133 w 950"/>
                <a:gd name="T25" fmla="*/ 55 h 468"/>
                <a:gd name="T26" fmla="*/ 157 w 950"/>
                <a:gd name="T27" fmla="*/ 15 h 468"/>
                <a:gd name="T28" fmla="*/ 332 w 950"/>
                <a:gd name="T29" fmla="*/ 117 h 468"/>
                <a:gd name="T30" fmla="*/ 438 w 950"/>
                <a:gd name="T31" fmla="*/ 117 h 468"/>
                <a:gd name="T32" fmla="*/ 525 w 950"/>
                <a:gd name="T33" fmla="*/ 135 h 468"/>
                <a:gd name="T34" fmla="*/ 597 w 950"/>
                <a:gd name="T35" fmla="*/ 228 h 468"/>
                <a:gd name="T36" fmla="*/ 671 w 950"/>
                <a:gd name="T37" fmla="*/ 252 h 468"/>
                <a:gd name="T38" fmla="*/ 730 w 950"/>
                <a:gd name="T39" fmla="*/ 258 h 468"/>
                <a:gd name="T40" fmla="*/ 791 w 950"/>
                <a:gd name="T41" fmla="*/ 215 h 468"/>
                <a:gd name="T42" fmla="*/ 843 w 950"/>
                <a:gd name="T43" fmla="*/ 196 h 468"/>
                <a:gd name="T44" fmla="*/ 824 w 950"/>
                <a:gd name="T45" fmla="*/ 252 h 468"/>
                <a:gd name="T46" fmla="*/ 870 w 950"/>
                <a:gd name="T47" fmla="*/ 240 h 468"/>
                <a:gd name="T48" fmla="*/ 950 w 950"/>
                <a:gd name="T49" fmla="*/ 283 h 468"/>
                <a:gd name="T50" fmla="*/ 883 w 950"/>
                <a:gd name="T51" fmla="*/ 320 h 468"/>
                <a:gd name="T52" fmla="*/ 824 w 950"/>
                <a:gd name="T53" fmla="*/ 283 h 468"/>
                <a:gd name="T54" fmla="*/ 764 w 950"/>
                <a:gd name="T55" fmla="*/ 277 h 468"/>
                <a:gd name="T56" fmla="*/ 737 w 950"/>
                <a:gd name="T57" fmla="*/ 320 h 468"/>
                <a:gd name="T58" fmla="*/ 684 w 950"/>
                <a:gd name="T59" fmla="*/ 357 h 468"/>
                <a:gd name="T60" fmla="*/ 710 w 950"/>
                <a:gd name="T61" fmla="*/ 388 h 468"/>
                <a:gd name="T62" fmla="*/ 743 w 950"/>
                <a:gd name="T63" fmla="*/ 437 h 468"/>
                <a:gd name="T64" fmla="*/ 717 w 950"/>
                <a:gd name="T65" fmla="*/ 468 h 468"/>
                <a:gd name="T66" fmla="*/ 703 w 950"/>
                <a:gd name="T67" fmla="*/ 465 h 468"/>
                <a:gd name="T68" fmla="*/ 684 w 950"/>
                <a:gd name="T69" fmla="*/ 461 h 468"/>
                <a:gd name="T70" fmla="*/ 658 w 950"/>
                <a:gd name="T71" fmla="*/ 461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" name="Freeform 32">
              <a:extLst>
                <a:ext uri="{FF2B5EF4-FFF2-40B4-BE49-F238E27FC236}">
                  <a16:creationId xmlns="" xmlns:a16="http://schemas.microsoft.com/office/drawing/2014/main" id="{05D99C5E-10AD-9841-9122-7ECF852F90B0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4079875" y="3232150"/>
              <a:ext cx="296863" cy="288925"/>
            </a:xfrm>
            <a:custGeom>
              <a:avLst/>
              <a:gdLst>
                <a:gd name="T0" fmla="*/ 6 w 671"/>
                <a:gd name="T1" fmla="*/ 383 h 549"/>
                <a:gd name="T2" fmla="*/ 8 w 671"/>
                <a:gd name="T3" fmla="*/ 316 h 549"/>
                <a:gd name="T4" fmla="*/ 17 w 671"/>
                <a:gd name="T5" fmla="*/ 287 h 549"/>
                <a:gd name="T6" fmla="*/ 52 w 671"/>
                <a:gd name="T7" fmla="*/ 238 h 549"/>
                <a:gd name="T8" fmla="*/ 71 w 671"/>
                <a:gd name="T9" fmla="*/ 205 h 549"/>
                <a:gd name="T10" fmla="*/ 73 w 671"/>
                <a:gd name="T11" fmla="*/ 167 h 549"/>
                <a:gd name="T12" fmla="*/ 73 w 671"/>
                <a:gd name="T13" fmla="*/ 137 h 549"/>
                <a:gd name="T14" fmla="*/ 54 w 671"/>
                <a:gd name="T15" fmla="*/ 108 h 549"/>
                <a:gd name="T16" fmla="*/ 61 w 671"/>
                <a:gd name="T17" fmla="*/ 79 h 549"/>
                <a:gd name="T18" fmla="*/ 76 w 671"/>
                <a:gd name="T19" fmla="*/ 50 h 549"/>
                <a:gd name="T20" fmla="*/ 96 w 671"/>
                <a:gd name="T21" fmla="*/ 25 h 549"/>
                <a:gd name="T22" fmla="*/ 120 w 671"/>
                <a:gd name="T23" fmla="*/ 7 h 549"/>
                <a:gd name="T24" fmla="*/ 146 w 671"/>
                <a:gd name="T25" fmla="*/ 0 h 549"/>
                <a:gd name="T26" fmla="*/ 173 w 671"/>
                <a:gd name="T27" fmla="*/ 5 h 549"/>
                <a:gd name="T28" fmla="*/ 206 w 671"/>
                <a:gd name="T29" fmla="*/ 26 h 549"/>
                <a:gd name="T30" fmla="*/ 236 w 671"/>
                <a:gd name="T31" fmla="*/ 45 h 549"/>
                <a:gd name="T32" fmla="*/ 259 w 671"/>
                <a:gd name="T33" fmla="*/ 50 h 549"/>
                <a:gd name="T34" fmla="*/ 272 w 671"/>
                <a:gd name="T35" fmla="*/ 44 h 549"/>
                <a:gd name="T36" fmla="*/ 284 w 671"/>
                <a:gd name="T37" fmla="*/ 35 h 549"/>
                <a:gd name="T38" fmla="*/ 300 w 671"/>
                <a:gd name="T39" fmla="*/ 32 h 549"/>
                <a:gd name="T40" fmla="*/ 318 w 671"/>
                <a:gd name="T41" fmla="*/ 39 h 549"/>
                <a:gd name="T42" fmla="*/ 337 w 671"/>
                <a:gd name="T43" fmla="*/ 65 h 549"/>
                <a:gd name="T44" fmla="*/ 353 w 671"/>
                <a:gd name="T45" fmla="*/ 79 h 549"/>
                <a:gd name="T46" fmla="*/ 370 w 671"/>
                <a:gd name="T47" fmla="*/ 81 h 549"/>
                <a:gd name="T48" fmla="*/ 381 w 671"/>
                <a:gd name="T49" fmla="*/ 75 h 549"/>
                <a:gd name="T50" fmla="*/ 397 w 671"/>
                <a:gd name="T51" fmla="*/ 56 h 549"/>
                <a:gd name="T52" fmla="*/ 419 w 671"/>
                <a:gd name="T53" fmla="*/ 38 h 549"/>
                <a:gd name="T54" fmla="*/ 458 w 671"/>
                <a:gd name="T55" fmla="*/ 22 h 549"/>
                <a:gd name="T56" fmla="*/ 487 w 671"/>
                <a:gd name="T57" fmla="*/ 25 h 549"/>
                <a:gd name="T58" fmla="*/ 511 w 671"/>
                <a:gd name="T59" fmla="*/ 35 h 549"/>
                <a:gd name="T60" fmla="*/ 537 w 671"/>
                <a:gd name="T61" fmla="*/ 43 h 549"/>
                <a:gd name="T62" fmla="*/ 571 w 671"/>
                <a:gd name="T63" fmla="*/ 39 h 549"/>
                <a:gd name="T64" fmla="*/ 646 w 671"/>
                <a:gd name="T65" fmla="*/ 67 h 549"/>
                <a:gd name="T66" fmla="*/ 665 w 671"/>
                <a:gd name="T67" fmla="*/ 105 h 549"/>
                <a:gd name="T68" fmla="*/ 623 w 671"/>
                <a:gd name="T69" fmla="*/ 183 h 549"/>
                <a:gd name="T70" fmla="*/ 593 w 671"/>
                <a:gd name="T71" fmla="*/ 233 h 549"/>
                <a:gd name="T72" fmla="*/ 570 w 671"/>
                <a:gd name="T73" fmla="*/ 291 h 549"/>
                <a:gd name="T74" fmla="*/ 550 w 671"/>
                <a:gd name="T75" fmla="*/ 343 h 549"/>
                <a:gd name="T76" fmla="*/ 525 w 671"/>
                <a:gd name="T77" fmla="*/ 407 h 549"/>
                <a:gd name="T78" fmla="*/ 516 w 671"/>
                <a:gd name="T79" fmla="*/ 422 h 549"/>
                <a:gd name="T80" fmla="*/ 500 w 671"/>
                <a:gd name="T81" fmla="*/ 439 h 549"/>
                <a:gd name="T82" fmla="*/ 482 w 671"/>
                <a:gd name="T83" fmla="*/ 443 h 549"/>
                <a:gd name="T84" fmla="*/ 459 w 671"/>
                <a:gd name="T85" fmla="*/ 432 h 549"/>
                <a:gd name="T86" fmla="*/ 440 w 671"/>
                <a:gd name="T87" fmla="*/ 421 h 549"/>
                <a:gd name="T88" fmla="*/ 408 w 671"/>
                <a:gd name="T89" fmla="*/ 424 h 549"/>
                <a:gd name="T90" fmla="*/ 381 w 671"/>
                <a:gd name="T91" fmla="*/ 441 h 549"/>
                <a:gd name="T92" fmla="*/ 364 w 671"/>
                <a:gd name="T93" fmla="*/ 469 h 549"/>
                <a:gd name="T94" fmla="*/ 342 w 671"/>
                <a:gd name="T95" fmla="*/ 521 h 549"/>
                <a:gd name="T96" fmla="*/ 325 w 671"/>
                <a:gd name="T97" fmla="*/ 549 h 549"/>
                <a:gd name="T98" fmla="*/ 229 w 671"/>
                <a:gd name="T99" fmla="*/ 546 h 549"/>
                <a:gd name="T100" fmla="*/ 217 w 671"/>
                <a:gd name="T101" fmla="*/ 548 h 549"/>
                <a:gd name="T102" fmla="*/ 179 w 671"/>
                <a:gd name="T103" fmla="*/ 543 h 549"/>
                <a:gd name="T104" fmla="*/ 161 w 671"/>
                <a:gd name="T105" fmla="*/ 540 h 549"/>
                <a:gd name="T106" fmla="*/ 144 w 671"/>
                <a:gd name="T107" fmla="*/ 531 h 549"/>
                <a:gd name="T108" fmla="*/ 129 w 671"/>
                <a:gd name="T109" fmla="*/ 515 h 549"/>
                <a:gd name="T110" fmla="*/ 119 w 671"/>
                <a:gd name="T111" fmla="*/ 496 h 549"/>
                <a:gd name="T112" fmla="*/ 113 w 671"/>
                <a:gd name="T113" fmla="*/ 472 h 549"/>
                <a:gd name="T114" fmla="*/ 100 w 671"/>
                <a:gd name="T115" fmla="*/ 460 h 549"/>
                <a:gd name="T116" fmla="*/ 83 w 671"/>
                <a:gd name="T117" fmla="*/ 447 h 549"/>
                <a:gd name="T118" fmla="*/ 63 w 671"/>
                <a:gd name="T119" fmla="*/ 432 h 549"/>
                <a:gd name="T120" fmla="*/ 39 w 671"/>
                <a:gd name="T121" fmla="*/ 429 h 549"/>
                <a:gd name="T122" fmla="*/ 0 w 671"/>
                <a:gd name="T123" fmla="*/ 438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" name="Freeform 33">
              <a:extLst>
                <a:ext uri="{FF2B5EF4-FFF2-40B4-BE49-F238E27FC236}">
                  <a16:creationId xmlns="" xmlns:a16="http://schemas.microsoft.com/office/drawing/2014/main" id="{4817423A-B1E9-AE4A-85F5-104624D68DFE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4922838" y="3097213"/>
              <a:ext cx="152400" cy="169862"/>
            </a:xfrm>
            <a:custGeom>
              <a:avLst/>
              <a:gdLst>
                <a:gd name="T0" fmla="*/ 326 w 358"/>
                <a:gd name="T1" fmla="*/ 324 h 327"/>
                <a:gd name="T2" fmla="*/ 331 w 358"/>
                <a:gd name="T3" fmla="*/ 321 h 327"/>
                <a:gd name="T4" fmla="*/ 337 w 358"/>
                <a:gd name="T5" fmla="*/ 318 h 327"/>
                <a:gd name="T6" fmla="*/ 346 w 358"/>
                <a:gd name="T7" fmla="*/ 318 h 327"/>
                <a:gd name="T8" fmla="*/ 356 w 358"/>
                <a:gd name="T9" fmla="*/ 324 h 327"/>
                <a:gd name="T10" fmla="*/ 319 w 358"/>
                <a:gd name="T11" fmla="*/ 285 h 327"/>
                <a:gd name="T12" fmla="*/ 278 w 358"/>
                <a:gd name="T13" fmla="*/ 235 h 327"/>
                <a:gd name="T14" fmla="*/ 253 w 358"/>
                <a:gd name="T15" fmla="*/ 204 h 327"/>
                <a:gd name="T16" fmla="*/ 232 w 358"/>
                <a:gd name="T17" fmla="*/ 186 h 327"/>
                <a:gd name="T18" fmla="*/ 219 w 358"/>
                <a:gd name="T19" fmla="*/ 181 h 327"/>
                <a:gd name="T20" fmla="*/ 208 w 358"/>
                <a:gd name="T21" fmla="*/ 180 h 327"/>
                <a:gd name="T22" fmla="*/ 201 w 358"/>
                <a:gd name="T23" fmla="*/ 179 h 327"/>
                <a:gd name="T24" fmla="*/ 199 w 358"/>
                <a:gd name="T25" fmla="*/ 174 h 327"/>
                <a:gd name="T26" fmla="*/ 198 w 358"/>
                <a:gd name="T27" fmla="*/ 170 h 327"/>
                <a:gd name="T28" fmla="*/ 195 w 358"/>
                <a:gd name="T29" fmla="*/ 169 h 327"/>
                <a:gd name="T30" fmla="*/ 184 w 358"/>
                <a:gd name="T31" fmla="*/ 172 h 327"/>
                <a:gd name="T32" fmla="*/ 171 w 358"/>
                <a:gd name="T33" fmla="*/ 172 h 327"/>
                <a:gd name="T34" fmla="*/ 165 w 358"/>
                <a:gd name="T35" fmla="*/ 168 h 327"/>
                <a:gd name="T36" fmla="*/ 160 w 358"/>
                <a:gd name="T37" fmla="*/ 161 h 327"/>
                <a:gd name="T38" fmla="*/ 152 w 358"/>
                <a:gd name="T39" fmla="*/ 144 h 327"/>
                <a:gd name="T40" fmla="*/ 143 w 358"/>
                <a:gd name="T41" fmla="*/ 131 h 327"/>
                <a:gd name="T42" fmla="*/ 133 w 358"/>
                <a:gd name="T43" fmla="*/ 119 h 327"/>
                <a:gd name="T44" fmla="*/ 127 w 358"/>
                <a:gd name="T45" fmla="*/ 105 h 327"/>
                <a:gd name="T46" fmla="*/ 122 w 358"/>
                <a:gd name="T47" fmla="*/ 84 h 327"/>
                <a:gd name="T48" fmla="*/ 119 w 358"/>
                <a:gd name="T49" fmla="*/ 53 h 327"/>
                <a:gd name="T50" fmla="*/ 117 w 358"/>
                <a:gd name="T51" fmla="*/ 23 h 327"/>
                <a:gd name="T52" fmla="*/ 112 w 358"/>
                <a:gd name="T53" fmla="*/ 0 h 327"/>
                <a:gd name="T54" fmla="*/ 73 w 358"/>
                <a:gd name="T55" fmla="*/ 26 h 327"/>
                <a:gd name="T56" fmla="*/ 61 w 358"/>
                <a:gd name="T57" fmla="*/ 33 h 327"/>
                <a:gd name="T58" fmla="*/ 33 w 358"/>
                <a:gd name="T59" fmla="*/ 50 h 327"/>
                <a:gd name="T60" fmla="*/ 21 w 358"/>
                <a:gd name="T61" fmla="*/ 61 h 327"/>
                <a:gd name="T62" fmla="*/ 17 w 358"/>
                <a:gd name="T63" fmla="*/ 72 h 327"/>
                <a:gd name="T64" fmla="*/ 16 w 358"/>
                <a:gd name="T65" fmla="*/ 83 h 327"/>
                <a:gd name="T66" fmla="*/ 20 w 358"/>
                <a:gd name="T67" fmla="*/ 93 h 327"/>
                <a:gd name="T68" fmla="*/ 22 w 358"/>
                <a:gd name="T69" fmla="*/ 100 h 327"/>
                <a:gd name="T70" fmla="*/ 20 w 358"/>
                <a:gd name="T71" fmla="*/ 110 h 327"/>
                <a:gd name="T72" fmla="*/ 15 w 358"/>
                <a:gd name="T73" fmla="*/ 123 h 327"/>
                <a:gd name="T74" fmla="*/ 7 w 358"/>
                <a:gd name="T75" fmla="*/ 136 h 327"/>
                <a:gd name="T76" fmla="*/ 0 w 358"/>
                <a:gd name="T77" fmla="*/ 155 h 327"/>
                <a:gd name="T78" fmla="*/ 0 w 358"/>
                <a:gd name="T79" fmla="*/ 174 h 327"/>
                <a:gd name="T80" fmla="*/ 5 w 358"/>
                <a:gd name="T81" fmla="*/ 182 h 327"/>
                <a:gd name="T82" fmla="*/ 11 w 358"/>
                <a:gd name="T83" fmla="*/ 187 h 327"/>
                <a:gd name="T84" fmla="*/ 20 w 358"/>
                <a:gd name="T85" fmla="*/ 186 h 327"/>
                <a:gd name="T86" fmla="*/ 44 w 358"/>
                <a:gd name="T87" fmla="*/ 168 h 327"/>
                <a:gd name="T88" fmla="*/ 60 w 358"/>
                <a:gd name="T89" fmla="*/ 161 h 327"/>
                <a:gd name="T90" fmla="*/ 76 w 358"/>
                <a:gd name="T91" fmla="*/ 150 h 327"/>
                <a:gd name="T92" fmla="*/ 93 w 358"/>
                <a:gd name="T93" fmla="*/ 159 h 327"/>
                <a:gd name="T94" fmla="*/ 110 w 358"/>
                <a:gd name="T95" fmla="*/ 164 h 327"/>
                <a:gd name="T96" fmla="*/ 142 w 358"/>
                <a:gd name="T97" fmla="*/ 180 h 327"/>
                <a:gd name="T98" fmla="*/ 163 w 358"/>
                <a:gd name="T99" fmla="*/ 190 h 327"/>
                <a:gd name="T100" fmla="*/ 196 w 358"/>
                <a:gd name="T101" fmla="*/ 209 h 327"/>
                <a:gd name="T102" fmla="*/ 219 w 358"/>
                <a:gd name="T103" fmla="*/ 225 h 327"/>
                <a:gd name="T104" fmla="*/ 245 w 358"/>
                <a:gd name="T105" fmla="*/ 244 h 327"/>
                <a:gd name="T106" fmla="*/ 256 w 358"/>
                <a:gd name="T107" fmla="*/ 254 h 327"/>
                <a:gd name="T108" fmla="*/ 267 w 358"/>
                <a:gd name="T109" fmla="*/ 270 h 327"/>
                <a:gd name="T110" fmla="*/ 269 w 358"/>
                <a:gd name="T111" fmla="*/ 279 h 327"/>
                <a:gd name="T112" fmla="*/ 269 w 358"/>
                <a:gd name="T113" fmla="*/ 286 h 327"/>
                <a:gd name="T114" fmla="*/ 270 w 358"/>
                <a:gd name="T115" fmla="*/ 290 h 327"/>
                <a:gd name="T116" fmla="*/ 276 w 358"/>
                <a:gd name="T117" fmla="*/ 292 h 327"/>
                <a:gd name="T118" fmla="*/ 292 w 358"/>
                <a:gd name="T119" fmla="*/ 302 h 327"/>
                <a:gd name="T120" fmla="*/ 318 w 358"/>
                <a:gd name="T121" fmla="*/ 321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" name="Freeform 34">
              <a:extLst>
                <a:ext uri="{FF2B5EF4-FFF2-40B4-BE49-F238E27FC236}">
                  <a16:creationId xmlns="" xmlns:a16="http://schemas.microsoft.com/office/drawing/2014/main" id="{8AC4FE8B-0CC1-3F40-8430-99B764F6123A}"/>
                </a:ext>
              </a:extLst>
            </p:cNvPr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4384675" y="2101850"/>
              <a:ext cx="125413" cy="57150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" name="Freeform 35">
              <a:extLst>
                <a:ext uri="{FF2B5EF4-FFF2-40B4-BE49-F238E27FC236}">
                  <a16:creationId xmlns="" xmlns:a16="http://schemas.microsoft.com/office/drawing/2014/main" id="{02AFF404-7124-4E47-AA80-D71C91D8B7B2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5248275" y="2822575"/>
              <a:ext cx="19050" cy="57150"/>
            </a:xfrm>
            <a:custGeom>
              <a:avLst/>
              <a:gdLst>
                <a:gd name="T0" fmla="*/ 39 w 43"/>
                <a:gd name="T1" fmla="*/ 93 h 93"/>
                <a:gd name="T2" fmla="*/ 31 w 43"/>
                <a:gd name="T3" fmla="*/ 91 h 93"/>
                <a:gd name="T4" fmla="*/ 26 w 43"/>
                <a:gd name="T5" fmla="*/ 89 h 93"/>
                <a:gd name="T6" fmla="*/ 21 w 43"/>
                <a:gd name="T7" fmla="*/ 87 h 93"/>
                <a:gd name="T8" fmla="*/ 18 w 43"/>
                <a:gd name="T9" fmla="*/ 84 h 93"/>
                <a:gd name="T10" fmla="*/ 15 w 43"/>
                <a:gd name="T11" fmla="*/ 79 h 93"/>
                <a:gd name="T12" fmla="*/ 14 w 43"/>
                <a:gd name="T13" fmla="*/ 73 h 93"/>
                <a:gd name="T14" fmla="*/ 13 w 43"/>
                <a:gd name="T15" fmla="*/ 65 h 93"/>
                <a:gd name="T16" fmla="*/ 11 w 43"/>
                <a:gd name="T17" fmla="*/ 55 h 93"/>
                <a:gd name="T18" fmla="*/ 11 w 43"/>
                <a:gd name="T19" fmla="*/ 48 h 93"/>
                <a:gd name="T20" fmla="*/ 9 w 43"/>
                <a:gd name="T21" fmla="*/ 42 h 93"/>
                <a:gd name="T22" fmla="*/ 6 w 43"/>
                <a:gd name="T23" fmla="*/ 38 h 93"/>
                <a:gd name="T24" fmla="*/ 4 w 43"/>
                <a:gd name="T25" fmla="*/ 36 h 93"/>
                <a:gd name="T26" fmla="*/ 2 w 43"/>
                <a:gd name="T27" fmla="*/ 34 h 93"/>
                <a:gd name="T28" fmla="*/ 0 w 43"/>
                <a:gd name="T29" fmla="*/ 32 h 93"/>
                <a:gd name="T30" fmla="*/ 2 w 43"/>
                <a:gd name="T31" fmla="*/ 29 h 93"/>
                <a:gd name="T32" fmla="*/ 5 w 43"/>
                <a:gd name="T33" fmla="*/ 24 h 93"/>
                <a:gd name="T34" fmla="*/ 6 w 43"/>
                <a:gd name="T35" fmla="*/ 28 h 93"/>
                <a:gd name="T36" fmla="*/ 7 w 43"/>
                <a:gd name="T37" fmla="*/ 29 h 93"/>
                <a:gd name="T38" fmla="*/ 8 w 43"/>
                <a:gd name="T39" fmla="*/ 30 h 93"/>
                <a:gd name="T40" fmla="*/ 9 w 43"/>
                <a:gd name="T41" fmla="*/ 29 h 93"/>
                <a:gd name="T42" fmla="*/ 11 w 43"/>
                <a:gd name="T43" fmla="*/ 25 h 93"/>
                <a:gd name="T44" fmla="*/ 14 w 43"/>
                <a:gd name="T45" fmla="*/ 19 h 93"/>
                <a:gd name="T46" fmla="*/ 16 w 43"/>
                <a:gd name="T47" fmla="*/ 12 h 93"/>
                <a:gd name="T48" fmla="*/ 20 w 43"/>
                <a:gd name="T49" fmla="*/ 6 h 93"/>
                <a:gd name="T50" fmla="*/ 22 w 43"/>
                <a:gd name="T51" fmla="*/ 4 h 93"/>
                <a:gd name="T52" fmla="*/ 25 w 43"/>
                <a:gd name="T53" fmla="*/ 2 h 93"/>
                <a:gd name="T54" fmla="*/ 28 w 43"/>
                <a:gd name="T55" fmla="*/ 0 h 93"/>
                <a:gd name="T56" fmla="*/ 32 w 43"/>
                <a:gd name="T57" fmla="*/ 0 h 93"/>
                <a:gd name="T58" fmla="*/ 33 w 43"/>
                <a:gd name="T59" fmla="*/ 10 h 93"/>
                <a:gd name="T60" fmla="*/ 33 w 43"/>
                <a:gd name="T61" fmla="*/ 16 h 93"/>
                <a:gd name="T62" fmla="*/ 33 w 43"/>
                <a:gd name="T63" fmla="*/ 20 h 93"/>
                <a:gd name="T64" fmla="*/ 32 w 43"/>
                <a:gd name="T65" fmla="*/ 23 h 93"/>
                <a:gd name="T66" fmla="*/ 32 w 43"/>
                <a:gd name="T67" fmla="*/ 27 h 93"/>
                <a:gd name="T68" fmla="*/ 32 w 43"/>
                <a:gd name="T69" fmla="*/ 31 h 93"/>
                <a:gd name="T70" fmla="*/ 35 w 43"/>
                <a:gd name="T71" fmla="*/ 36 h 93"/>
                <a:gd name="T72" fmla="*/ 39 w 43"/>
                <a:gd name="T73" fmla="*/ 43 h 93"/>
                <a:gd name="T74" fmla="*/ 38 w 43"/>
                <a:gd name="T75" fmla="*/ 44 h 93"/>
                <a:gd name="T76" fmla="*/ 37 w 43"/>
                <a:gd name="T77" fmla="*/ 45 h 93"/>
                <a:gd name="T78" fmla="*/ 37 w 43"/>
                <a:gd name="T79" fmla="*/ 48 h 93"/>
                <a:gd name="T80" fmla="*/ 38 w 43"/>
                <a:gd name="T81" fmla="*/ 51 h 93"/>
                <a:gd name="T82" fmla="*/ 39 w 43"/>
                <a:gd name="T83" fmla="*/ 59 h 93"/>
                <a:gd name="T84" fmla="*/ 41 w 43"/>
                <a:gd name="T85" fmla="*/ 68 h 93"/>
                <a:gd name="T86" fmla="*/ 42 w 43"/>
                <a:gd name="T87" fmla="*/ 76 h 93"/>
                <a:gd name="T88" fmla="*/ 43 w 43"/>
                <a:gd name="T89" fmla="*/ 85 h 93"/>
                <a:gd name="T90" fmla="*/ 43 w 43"/>
                <a:gd name="T91" fmla="*/ 88 h 93"/>
                <a:gd name="T92" fmla="*/ 42 w 43"/>
                <a:gd name="T93" fmla="*/ 91 h 93"/>
                <a:gd name="T94" fmla="*/ 40 w 43"/>
                <a:gd name="T95" fmla="*/ 92 h 93"/>
                <a:gd name="T96" fmla="*/ 39 w 43"/>
                <a:gd name="T97" fmla="*/ 93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" name="Freeform 36">
              <a:extLst>
                <a:ext uri="{FF2B5EF4-FFF2-40B4-BE49-F238E27FC236}">
                  <a16:creationId xmlns="" xmlns:a16="http://schemas.microsoft.com/office/drawing/2014/main" id="{D40AF111-5691-6342-950C-5D522DA60DBA}"/>
                </a:ext>
              </a:extLst>
            </p:cNvPr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5367338" y="2827338"/>
              <a:ext cx="14287" cy="57150"/>
            </a:xfrm>
            <a:custGeom>
              <a:avLst/>
              <a:gdLst>
                <a:gd name="T0" fmla="*/ 40 w 40"/>
                <a:gd name="T1" fmla="*/ 56 h 56"/>
                <a:gd name="T2" fmla="*/ 37 w 40"/>
                <a:gd name="T3" fmla="*/ 46 h 56"/>
                <a:gd name="T4" fmla="*/ 33 w 40"/>
                <a:gd name="T5" fmla="*/ 38 h 56"/>
                <a:gd name="T6" fmla="*/ 28 w 40"/>
                <a:gd name="T7" fmla="*/ 32 h 56"/>
                <a:gd name="T8" fmla="*/ 23 w 40"/>
                <a:gd name="T9" fmla="*/ 28 h 56"/>
                <a:gd name="T10" fmla="*/ 11 w 40"/>
                <a:gd name="T11" fmla="*/ 21 h 56"/>
                <a:gd name="T12" fmla="*/ 0 w 40"/>
                <a:gd name="T13" fmla="*/ 12 h 56"/>
                <a:gd name="T14" fmla="*/ 13 w 40"/>
                <a:gd name="T15" fmla="*/ 4 h 56"/>
                <a:gd name="T16" fmla="*/ 20 w 40"/>
                <a:gd name="T17" fmla="*/ 0 h 56"/>
                <a:gd name="T18" fmla="*/ 28 w 40"/>
                <a:gd name="T19" fmla="*/ 12 h 56"/>
                <a:gd name="T20" fmla="*/ 35 w 40"/>
                <a:gd name="T21" fmla="*/ 22 h 56"/>
                <a:gd name="T22" fmla="*/ 37 w 40"/>
                <a:gd name="T23" fmla="*/ 25 h 56"/>
                <a:gd name="T24" fmla="*/ 39 w 40"/>
                <a:gd name="T25" fmla="*/ 29 h 56"/>
                <a:gd name="T26" fmla="*/ 39 w 40"/>
                <a:gd name="T27" fmla="*/ 33 h 56"/>
                <a:gd name="T28" fmla="*/ 40 w 40"/>
                <a:gd name="T29" fmla="*/ 37 h 56"/>
                <a:gd name="T30" fmla="*/ 40 w 40"/>
                <a:gd name="T31" fmla="*/ 44 h 56"/>
                <a:gd name="T32" fmla="*/ 40 w 40"/>
                <a:gd name="T33" fmla="*/ 46 h 56"/>
                <a:gd name="T34" fmla="*/ 40 w 40"/>
                <a:gd name="T35" fmla="*/ 49 h 56"/>
                <a:gd name="T36" fmla="*/ 40 w 40"/>
                <a:gd name="T37" fmla="*/ 56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37">
              <a:extLst>
                <a:ext uri="{FF2B5EF4-FFF2-40B4-BE49-F238E27FC236}">
                  <a16:creationId xmlns="" xmlns:a16="http://schemas.microsoft.com/office/drawing/2014/main" id="{4D4F12F8-7F86-934B-A4B1-EBA7AE21C1BE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854825" y="3487738"/>
              <a:ext cx="44450" cy="57150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9" name="Group 38">
              <a:extLst>
                <a:ext uri="{FF2B5EF4-FFF2-40B4-BE49-F238E27FC236}">
                  <a16:creationId xmlns="" xmlns:a16="http://schemas.microsoft.com/office/drawing/2014/main" id="{2F9914BB-EAE3-CC40-8547-E9171E0FA6F1}"/>
                </a:ext>
              </a:extLst>
            </p:cNvPr>
            <p:cNvGrpSpPr>
              <a:grpSpLocks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2706688" y="5295900"/>
              <a:ext cx="65087" cy="55563"/>
              <a:chOff x="1654" y="3671"/>
              <a:chExt cx="49" cy="17"/>
            </a:xfrm>
          </p:grpSpPr>
          <p:sp>
            <p:nvSpPr>
              <p:cNvPr id="60" name="Freeform 39">
                <a:extLst>
                  <a:ext uri="{FF2B5EF4-FFF2-40B4-BE49-F238E27FC236}">
                    <a16:creationId xmlns="" xmlns:a16="http://schemas.microsoft.com/office/drawing/2014/main" id="{AA9E5BD1-7D36-454A-B007-D3835F6F55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26 w 59"/>
                  <a:gd name="T1" fmla="*/ 43 h 43"/>
                  <a:gd name="T2" fmla="*/ 59 w 59"/>
                  <a:gd name="T3" fmla="*/ 18 h 43"/>
                  <a:gd name="T4" fmla="*/ 55 w 59"/>
                  <a:gd name="T5" fmla="*/ 14 h 43"/>
                  <a:gd name="T6" fmla="*/ 51 w 59"/>
                  <a:gd name="T7" fmla="*/ 9 h 43"/>
                  <a:gd name="T8" fmla="*/ 47 w 59"/>
                  <a:gd name="T9" fmla="*/ 5 h 43"/>
                  <a:gd name="T10" fmla="*/ 46 w 59"/>
                  <a:gd name="T11" fmla="*/ 0 h 43"/>
                  <a:gd name="T12" fmla="*/ 41 w 59"/>
                  <a:gd name="T13" fmla="*/ 1 h 43"/>
                  <a:gd name="T14" fmla="*/ 34 w 59"/>
                  <a:gd name="T15" fmla="*/ 4 h 43"/>
                  <a:gd name="T16" fmla="*/ 31 w 59"/>
                  <a:gd name="T17" fmla="*/ 6 h 43"/>
                  <a:gd name="T18" fmla="*/ 29 w 59"/>
                  <a:gd name="T19" fmla="*/ 8 h 43"/>
                  <a:gd name="T20" fmla="*/ 26 w 59"/>
                  <a:gd name="T21" fmla="*/ 10 h 43"/>
                  <a:gd name="T22" fmla="*/ 26 w 59"/>
                  <a:gd name="T23" fmla="*/ 12 h 43"/>
                  <a:gd name="T24" fmla="*/ 20 w 59"/>
                  <a:gd name="T25" fmla="*/ 13 h 43"/>
                  <a:gd name="T26" fmla="*/ 13 w 59"/>
                  <a:gd name="T27" fmla="*/ 16 h 43"/>
                  <a:gd name="T28" fmla="*/ 6 w 59"/>
                  <a:gd name="T29" fmla="*/ 20 h 43"/>
                  <a:gd name="T30" fmla="*/ 0 w 59"/>
                  <a:gd name="T31" fmla="*/ 24 h 43"/>
                  <a:gd name="T32" fmla="*/ 5 w 59"/>
                  <a:gd name="T33" fmla="*/ 29 h 43"/>
                  <a:gd name="T34" fmla="*/ 10 w 59"/>
                  <a:gd name="T35" fmla="*/ 34 h 43"/>
                  <a:gd name="T36" fmla="*/ 18 w 59"/>
                  <a:gd name="T37" fmla="*/ 39 h 43"/>
                  <a:gd name="T38" fmla="*/ 26 w 59"/>
                  <a:gd name="T39" fmla="*/ 43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1" name="Freeform 40">
                <a:extLst>
                  <a:ext uri="{FF2B5EF4-FFF2-40B4-BE49-F238E27FC236}">
                    <a16:creationId xmlns="" xmlns:a16="http://schemas.microsoft.com/office/drawing/2014/main" id="{2A0A7B95-221D-0449-8B23-2FA3C91112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2 h 51"/>
                  <a:gd name="T2" fmla="*/ 24 w 67"/>
                  <a:gd name="T3" fmla="*/ 1 h 51"/>
                  <a:gd name="T4" fmla="*/ 39 w 67"/>
                  <a:gd name="T5" fmla="*/ 0 h 51"/>
                  <a:gd name="T6" fmla="*/ 45 w 67"/>
                  <a:gd name="T7" fmla="*/ 1 h 51"/>
                  <a:gd name="T8" fmla="*/ 51 w 67"/>
                  <a:gd name="T9" fmla="*/ 2 h 51"/>
                  <a:gd name="T10" fmla="*/ 58 w 67"/>
                  <a:gd name="T11" fmla="*/ 4 h 51"/>
                  <a:gd name="T12" fmla="*/ 67 w 67"/>
                  <a:gd name="T13" fmla="*/ 8 h 51"/>
                  <a:gd name="T14" fmla="*/ 55 w 67"/>
                  <a:gd name="T15" fmla="*/ 13 h 51"/>
                  <a:gd name="T16" fmla="*/ 46 w 67"/>
                  <a:gd name="T17" fmla="*/ 19 h 51"/>
                  <a:gd name="T18" fmla="*/ 42 w 67"/>
                  <a:gd name="T19" fmla="*/ 22 h 51"/>
                  <a:gd name="T20" fmla="*/ 36 w 67"/>
                  <a:gd name="T21" fmla="*/ 24 h 51"/>
                  <a:gd name="T22" fmla="*/ 29 w 67"/>
                  <a:gd name="T23" fmla="*/ 26 h 51"/>
                  <a:gd name="T24" fmla="*/ 20 w 67"/>
                  <a:gd name="T25" fmla="*/ 26 h 51"/>
                  <a:gd name="T26" fmla="*/ 24 w 67"/>
                  <a:gd name="T27" fmla="*/ 26 h 51"/>
                  <a:gd name="T28" fmla="*/ 34 w 67"/>
                  <a:gd name="T29" fmla="*/ 26 h 51"/>
                  <a:gd name="T30" fmla="*/ 29 w 67"/>
                  <a:gd name="T31" fmla="*/ 34 h 51"/>
                  <a:gd name="T32" fmla="*/ 25 w 67"/>
                  <a:gd name="T33" fmla="*/ 40 h 51"/>
                  <a:gd name="T34" fmla="*/ 22 w 67"/>
                  <a:gd name="T35" fmla="*/ 44 h 51"/>
                  <a:gd name="T36" fmla="*/ 20 w 67"/>
                  <a:gd name="T37" fmla="*/ 46 h 51"/>
                  <a:gd name="T38" fmla="*/ 12 w 67"/>
                  <a:gd name="T39" fmla="*/ 48 h 51"/>
                  <a:gd name="T40" fmla="*/ 0 w 67"/>
                  <a:gd name="T41" fmla="*/ 51 h 51"/>
                  <a:gd name="T42" fmla="*/ 0 w 67"/>
                  <a:gd name="T43" fmla="*/ 2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2" name="Freeform 41">
              <a:extLst>
                <a:ext uri="{FF2B5EF4-FFF2-40B4-BE49-F238E27FC236}">
                  <a16:creationId xmlns="" xmlns:a16="http://schemas.microsoft.com/office/drawing/2014/main" id="{9B6B41D2-BD63-0646-8801-B588F5FFEFE9}"/>
                </a:ext>
              </a:extLst>
            </p:cNvPr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2354263" y="3090863"/>
              <a:ext cx="31750" cy="58737"/>
            </a:xfrm>
            <a:custGeom>
              <a:avLst/>
              <a:gdLst>
                <a:gd name="T0" fmla="*/ 0 w 80"/>
                <a:gd name="T1" fmla="*/ 15 h 34"/>
                <a:gd name="T2" fmla="*/ 1 w 80"/>
                <a:gd name="T3" fmla="*/ 19 h 34"/>
                <a:gd name="T4" fmla="*/ 2 w 80"/>
                <a:gd name="T5" fmla="*/ 21 h 34"/>
                <a:gd name="T6" fmla="*/ 4 w 80"/>
                <a:gd name="T7" fmla="*/ 24 h 34"/>
                <a:gd name="T8" fmla="*/ 7 w 80"/>
                <a:gd name="T9" fmla="*/ 26 h 34"/>
                <a:gd name="T10" fmla="*/ 13 w 80"/>
                <a:gd name="T11" fmla="*/ 29 h 34"/>
                <a:gd name="T12" fmla="*/ 22 w 80"/>
                <a:gd name="T13" fmla="*/ 31 h 34"/>
                <a:gd name="T14" fmla="*/ 40 w 80"/>
                <a:gd name="T15" fmla="*/ 33 h 34"/>
                <a:gd name="T16" fmla="*/ 54 w 80"/>
                <a:gd name="T17" fmla="*/ 34 h 34"/>
                <a:gd name="T18" fmla="*/ 58 w 80"/>
                <a:gd name="T19" fmla="*/ 33 h 34"/>
                <a:gd name="T20" fmla="*/ 62 w 80"/>
                <a:gd name="T21" fmla="*/ 32 h 34"/>
                <a:gd name="T22" fmla="*/ 65 w 80"/>
                <a:gd name="T23" fmla="*/ 29 h 34"/>
                <a:gd name="T24" fmla="*/ 67 w 80"/>
                <a:gd name="T25" fmla="*/ 27 h 34"/>
                <a:gd name="T26" fmla="*/ 73 w 80"/>
                <a:gd name="T27" fmla="*/ 21 h 34"/>
                <a:gd name="T28" fmla="*/ 80 w 80"/>
                <a:gd name="T29" fmla="*/ 15 h 34"/>
                <a:gd name="T30" fmla="*/ 75 w 80"/>
                <a:gd name="T31" fmla="*/ 10 h 34"/>
                <a:gd name="T32" fmla="*/ 70 w 80"/>
                <a:gd name="T33" fmla="*/ 7 h 34"/>
                <a:gd name="T34" fmla="*/ 65 w 80"/>
                <a:gd name="T35" fmla="*/ 4 h 34"/>
                <a:gd name="T36" fmla="*/ 60 w 80"/>
                <a:gd name="T37" fmla="*/ 2 h 34"/>
                <a:gd name="T38" fmla="*/ 55 w 80"/>
                <a:gd name="T39" fmla="*/ 0 h 34"/>
                <a:gd name="T40" fmla="*/ 51 w 80"/>
                <a:gd name="T41" fmla="*/ 0 h 34"/>
                <a:gd name="T42" fmla="*/ 45 w 80"/>
                <a:gd name="T43" fmla="*/ 1 h 34"/>
                <a:gd name="T44" fmla="*/ 41 w 80"/>
                <a:gd name="T45" fmla="*/ 2 h 34"/>
                <a:gd name="T46" fmla="*/ 34 w 80"/>
                <a:gd name="T47" fmla="*/ 2 h 34"/>
                <a:gd name="T48" fmla="*/ 21 w 80"/>
                <a:gd name="T49" fmla="*/ 2 h 34"/>
                <a:gd name="T50" fmla="*/ 13 w 80"/>
                <a:gd name="T51" fmla="*/ 3 h 34"/>
                <a:gd name="T52" fmla="*/ 7 w 80"/>
                <a:gd name="T53" fmla="*/ 5 h 34"/>
                <a:gd name="T54" fmla="*/ 4 w 80"/>
                <a:gd name="T55" fmla="*/ 7 h 34"/>
                <a:gd name="T56" fmla="*/ 2 w 80"/>
                <a:gd name="T57" fmla="*/ 9 h 34"/>
                <a:gd name="T58" fmla="*/ 1 w 80"/>
                <a:gd name="T59" fmla="*/ 11 h 34"/>
                <a:gd name="T60" fmla="*/ 0 w 80"/>
                <a:gd name="T61" fmla="*/ 15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42">
              <a:extLst>
                <a:ext uri="{FF2B5EF4-FFF2-40B4-BE49-F238E27FC236}">
                  <a16:creationId xmlns="" xmlns:a16="http://schemas.microsoft.com/office/drawing/2014/main" id="{6550806F-F33B-604B-9FE4-73085682B09D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2409825" y="3097213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7 w 7"/>
                <a:gd name="T3" fmla="*/ 13 h 13"/>
                <a:gd name="T4" fmla="*/ 7 w 7"/>
                <a:gd name="T5" fmla="*/ 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43">
              <a:extLst>
                <a:ext uri="{FF2B5EF4-FFF2-40B4-BE49-F238E27FC236}">
                  <a16:creationId xmlns="" xmlns:a16="http://schemas.microsoft.com/office/drawing/2014/main" id="{4E25B821-AE69-0345-86C3-4DFFF6F5A2F3}"/>
                </a:ext>
              </a:extLst>
            </p:cNvPr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2422525" y="3098800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7 w 20"/>
                <a:gd name="T3" fmla="*/ 3 h 6"/>
                <a:gd name="T4" fmla="*/ 20 w 20"/>
                <a:gd name="T5" fmla="*/ 6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44">
              <a:extLst>
                <a:ext uri="{FF2B5EF4-FFF2-40B4-BE49-F238E27FC236}">
                  <a16:creationId xmlns="" xmlns:a16="http://schemas.microsoft.com/office/drawing/2014/main" id="{64865B9A-3012-2847-BD9A-3FB70D0EEA75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2436813" y="3089275"/>
              <a:ext cx="7937" cy="57150"/>
            </a:xfrm>
            <a:custGeom>
              <a:avLst/>
              <a:gdLst>
                <a:gd name="T0" fmla="*/ 0 w 14"/>
                <a:gd name="T1" fmla="*/ 12 h 12"/>
                <a:gd name="T2" fmla="*/ 14 w 14"/>
                <a:gd name="T3" fmla="*/ 0 h 12"/>
                <a:gd name="T4" fmla="*/ 0 w 14"/>
                <a:gd name="T5" fmla="*/ 12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45">
              <a:extLst>
                <a:ext uri="{FF2B5EF4-FFF2-40B4-BE49-F238E27FC236}">
                  <a16:creationId xmlns="" xmlns:a16="http://schemas.microsoft.com/office/drawing/2014/main" id="{1490C673-9550-D64F-B19F-A6E3580C9F45}"/>
                </a:ext>
              </a:extLst>
            </p:cNvPr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2416175" y="3081338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4 h 7"/>
                <a:gd name="T4" fmla="*/ 2 w 27"/>
                <a:gd name="T5" fmla="*/ 6 h 7"/>
                <a:gd name="T6" fmla="*/ 7 w 27"/>
                <a:gd name="T7" fmla="*/ 7 h 7"/>
                <a:gd name="T8" fmla="*/ 10 w 27"/>
                <a:gd name="T9" fmla="*/ 7 h 7"/>
                <a:gd name="T10" fmla="*/ 15 w 27"/>
                <a:gd name="T11" fmla="*/ 6 h 7"/>
                <a:gd name="T12" fmla="*/ 19 w 27"/>
                <a:gd name="T13" fmla="*/ 4 h 7"/>
                <a:gd name="T14" fmla="*/ 23 w 27"/>
                <a:gd name="T15" fmla="*/ 2 h 7"/>
                <a:gd name="T16" fmla="*/ 2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Freeform 46">
              <a:extLst>
                <a:ext uri="{FF2B5EF4-FFF2-40B4-BE49-F238E27FC236}">
                  <a16:creationId xmlns="" xmlns:a16="http://schemas.microsoft.com/office/drawing/2014/main" id="{66136F14-8CC8-2649-833C-CD3F74896D5A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2465388" y="3109913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11 w 27"/>
                <a:gd name="T3" fmla="*/ 3 h 6"/>
                <a:gd name="T4" fmla="*/ 27 w 27"/>
                <a:gd name="T5" fmla="*/ 6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Line 47">
              <a:extLst>
                <a:ext uri="{FF2B5EF4-FFF2-40B4-BE49-F238E27FC236}">
                  <a16:creationId xmlns="" xmlns:a16="http://schemas.microsoft.com/office/drawing/2014/main" id="{9B197A02-8A00-2F45-BC62-27880EAE3F52}"/>
                </a:ext>
              </a:extLst>
            </p:cNvPr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 flipH="1" flipV="1">
              <a:off x="2473325" y="3106738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Line 48">
              <a:extLst>
                <a:ext uri="{FF2B5EF4-FFF2-40B4-BE49-F238E27FC236}">
                  <a16:creationId xmlns="" xmlns:a16="http://schemas.microsoft.com/office/drawing/2014/main" id="{87549CBF-7A32-0646-912F-77E71E29D2B7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 flipH="1">
              <a:off x="2473325" y="3132138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Freeform 49">
              <a:extLst>
                <a:ext uri="{FF2B5EF4-FFF2-40B4-BE49-F238E27FC236}">
                  <a16:creationId xmlns="" xmlns:a16="http://schemas.microsoft.com/office/drawing/2014/main" id="{95D6811D-5751-7549-AFFC-1AB2CB06AC52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2473325" y="3127375"/>
              <a:ext cx="11113" cy="58738"/>
            </a:xfrm>
            <a:custGeom>
              <a:avLst/>
              <a:gdLst>
                <a:gd name="T0" fmla="*/ 0 w 20"/>
                <a:gd name="T1" fmla="*/ 24 h 24"/>
                <a:gd name="T2" fmla="*/ 2 w 20"/>
                <a:gd name="T3" fmla="*/ 24 h 24"/>
                <a:gd name="T4" fmla="*/ 6 w 20"/>
                <a:gd name="T5" fmla="*/ 22 h 24"/>
                <a:gd name="T6" fmla="*/ 9 w 20"/>
                <a:gd name="T7" fmla="*/ 20 h 24"/>
                <a:gd name="T8" fmla="*/ 12 w 20"/>
                <a:gd name="T9" fmla="*/ 16 h 24"/>
                <a:gd name="T10" fmla="*/ 15 w 20"/>
                <a:gd name="T11" fmla="*/ 13 h 24"/>
                <a:gd name="T12" fmla="*/ 18 w 20"/>
                <a:gd name="T13" fmla="*/ 9 h 24"/>
                <a:gd name="T14" fmla="*/ 19 w 20"/>
                <a:gd name="T15" fmla="*/ 4 h 24"/>
                <a:gd name="T16" fmla="*/ 20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Freeform 50">
              <a:extLst>
                <a:ext uri="{FF2B5EF4-FFF2-40B4-BE49-F238E27FC236}">
                  <a16:creationId xmlns="" xmlns:a16="http://schemas.microsoft.com/office/drawing/2014/main" id="{07733676-99B2-7E44-A85B-883251DB2740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479675" y="3155950"/>
              <a:ext cx="17463" cy="55563"/>
            </a:xfrm>
            <a:custGeom>
              <a:avLst/>
              <a:gdLst>
                <a:gd name="T0" fmla="*/ 13 w 33"/>
                <a:gd name="T1" fmla="*/ 7 h 25"/>
                <a:gd name="T2" fmla="*/ 0 w 33"/>
                <a:gd name="T3" fmla="*/ 19 h 25"/>
                <a:gd name="T4" fmla="*/ 10 w 33"/>
                <a:gd name="T5" fmla="*/ 20 h 25"/>
                <a:gd name="T6" fmla="*/ 19 w 33"/>
                <a:gd name="T7" fmla="*/ 22 h 25"/>
                <a:gd name="T8" fmla="*/ 27 w 33"/>
                <a:gd name="T9" fmla="*/ 25 h 25"/>
                <a:gd name="T10" fmla="*/ 33 w 33"/>
                <a:gd name="T11" fmla="*/ 25 h 25"/>
                <a:gd name="T12" fmla="*/ 33 w 33"/>
                <a:gd name="T13" fmla="*/ 0 h 25"/>
                <a:gd name="T14" fmla="*/ 27 w 33"/>
                <a:gd name="T15" fmla="*/ 0 h 25"/>
                <a:gd name="T16" fmla="*/ 13 w 33"/>
                <a:gd name="T17" fmla="*/ 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Freeform 51">
              <a:extLst>
                <a:ext uri="{FF2B5EF4-FFF2-40B4-BE49-F238E27FC236}">
                  <a16:creationId xmlns="" xmlns:a16="http://schemas.microsoft.com/office/drawing/2014/main" id="{42209546-0F4F-0646-B6C7-CA39FEA62A8E}"/>
                </a:ext>
              </a:extLst>
            </p:cNvPr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2486025" y="3203575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3 w 40"/>
                <a:gd name="T3" fmla="*/ 6 h 18"/>
                <a:gd name="T4" fmla="*/ 6 w 40"/>
                <a:gd name="T5" fmla="*/ 11 h 18"/>
                <a:gd name="T6" fmla="*/ 10 w 40"/>
                <a:gd name="T7" fmla="*/ 14 h 18"/>
                <a:gd name="T8" fmla="*/ 15 w 40"/>
                <a:gd name="T9" fmla="*/ 16 h 18"/>
                <a:gd name="T10" fmla="*/ 27 w 40"/>
                <a:gd name="T11" fmla="*/ 18 h 18"/>
                <a:gd name="T12" fmla="*/ 40 w 40"/>
                <a:gd name="T13" fmla="*/ 18 h 18"/>
                <a:gd name="T14" fmla="*/ 40 w 40"/>
                <a:gd name="T15" fmla="*/ 0 h 18"/>
                <a:gd name="T16" fmla="*/ 30 w 40"/>
                <a:gd name="T17" fmla="*/ 0 h 18"/>
                <a:gd name="T18" fmla="*/ 20 w 40"/>
                <a:gd name="T19" fmla="*/ 0 h 18"/>
                <a:gd name="T20" fmla="*/ 10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52">
              <a:extLst>
                <a:ext uri="{FF2B5EF4-FFF2-40B4-BE49-F238E27FC236}">
                  <a16:creationId xmlns="" xmlns:a16="http://schemas.microsoft.com/office/drawing/2014/main" id="{6194303C-1B35-BE4F-B807-28DC235F3F72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2495550" y="3228975"/>
              <a:ext cx="3175" cy="57150"/>
            </a:xfrm>
            <a:custGeom>
              <a:avLst/>
              <a:gdLst>
                <a:gd name="T0" fmla="*/ 4 w 11"/>
                <a:gd name="T1" fmla="*/ 32 h 32"/>
                <a:gd name="T2" fmla="*/ 6 w 11"/>
                <a:gd name="T3" fmla="*/ 28 h 32"/>
                <a:gd name="T4" fmla="*/ 8 w 11"/>
                <a:gd name="T5" fmla="*/ 25 h 32"/>
                <a:gd name="T6" fmla="*/ 9 w 11"/>
                <a:gd name="T7" fmla="*/ 22 h 32"/>
                <a:gd name="T8" fmla="*/ 10 w 11"/>
                <a:gd name="T9" fmla="*/ 18 h 32"/>
                <a:gd name="T10" fmla="*/ 11 w 11"/>
                <a:gd name="T11" fmla="*/ 9 h 32"/>
                <a:gd name="T12" fmla="*/ 11 w 11"/>
                <a:gd name="T13" fmla="*/ 0 h 32"/>
                <a:gd name="T14" fmla="*/ 6 w 11"/>
                <a:gd name="T15" fmla="*/ 3 h 32"/>
                <a:gd name="T16" fmla="*/ 3 w 11"/>
                <a:gd name="T17" fmla="*/ 7 h 32"/>
                <a:gd name="T18" fmla="*/ 1 w 11"/>
                <a:gd name="T19" fmla="*/ 11 h 32"/>
                <a:gd name="T20" fmla="*/ 0 w 11"/>
                <a:gd name="T21" fmla="*/ 16 h 32"/>
                <a:gd name="T22" fmla="*/ 0 w 11"/>
                <a:gd name="T23" fmla="*/ 20 h 32"/>
                <a:gd name="T24" fmla="*/ 1 w 11"/>
                <a:gd name="T25" fmla="*/ 24 h 32"/>
                <a:gd name="T26" fmla="*/ 2 w 11"/>
                <a:gd name="T27" fmla="*/ 28 h 32"/>
                <a:gd name="T28" fmla="*/ 4 w 11"/>
                <a:gd name="T29" fmla="*/ 32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53">
              <a:extLst>
                <a:ext uri="{FF2B5EF4-FFF2-40B4-BE49-F238E27FC236}">
                  <a16:creationId xmlns="" xmlns:a16="http://schemas.microsoft.com/office/drawing/2014/main" id="{F2C265A6-A5F7-104A-92C1-B85F9486B943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2517775" y="3259138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4 h 24"/>
                <a:gd name="T4" fmla="*/ 14 w 14"/>
                <a:gd name="T5" fmla="*/ 12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Freeform 54">
              <a:extLst>
                <a:ext uri="{FF2B5EF4-FFF2-40B4-BE49-F238E27FC236}">
                  <a16:creationId xmlns="" xmlns:a16="http://schemas.microsoft.com/office/drawing/2014/main" id="{5F220432-E5F6-E045-8E4C-BB9EC36BED6C}"/>
                </a:ext>
              </a:extLst>
            </p:cNvPr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2479675" y="3271838"/>
              <a:ext cx="15875" cy="58737"/>
            </a:xfrm>
            <a:custGeom>
              <a:avLst/>
              <a:gdLst>
                <a:gd name="T0" fmla="*/ 0 w 27"/>
                <a:gd name="T1" fmla="*/ 12 h 18"/>
                <a:gd name="T2" fmla="*/ 7 w 27"/>
                <a:gd name="T3" fmla="*/ 15 h 18"/>
                <a:gd name="T4" fmla="*/ 13 w 27"/>
                <a:gd name="T5" fmla="*/ 18 h 18"/>
                <a:gd name="T6" fmla="*/ 22 w 27"/>
                <a:gd name="T7" fmla="*/ 7 h 18"/>
                <a:gd name="T8" fmla="*/ 27 w 27"/>
                <a:gd name="T9" fmla="*/ 0 h 18"/>
                <a:gd name="T10" fmla="*/ 22 w 27"/>
                <a:gd name="T11" fmla="*/ 0 h 18"/>
                <a:gd name="T12" fmla="*/ 18 w 27"/>
                <a:gd name="T13" fmla="*/ 1 h 18"/>
                <a:gd name="T14" fmla="*/ 13 w 27"/>
                <a:gd name="T15" fmla="*/ 2 h 18"/>
                <a:gd name="T16" fmla="*/ 10 w 27"/>
                <a:gd name="T17" fmla="*/ 4 h 18"/>
                <a:gd name="T18" fmla="*/ 5 w 27"/>
                <a:gd name="T19" fmla="*/ 8 h 18"/>
                <a:gd name="T20" fmla="*/ 0 w 27"/>
                <a:gd name="T21" fmla="*/ 12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6" name="Freeform 55">
              <a:extLst>
                <a:ext uri="{FF2B5EF4-FFF2-40B4-BE49-F238E27FC236}">
                  <a16:creationId xmlns="" xmlns:a16="http://schemas.microsoft.com/office/drawing/2014/main" id="{1D9F3339-A5D3-134A-89FE-F0CB39219766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2465388" y="3336925"/>
              <a:ext cx="23812" cy="57150"/>
            </a:xfrm>
            <a:custGeom>
              <a:avLst/>
              <a:gdLst>
                <a:gd name="T0" fmla="*/ 0 w 47"/>
                <a:gd name="T1" fmla="*/ 36 h 49"/>
                <a:gd name="T2" fmla="*/ 1 w 47"/>
                <a:gd name="T3" fmla="*/ 39 h 49"/>
                <a:gd name="T4" fmla="*/ 2 w 47"/>
                <a:gd name="T5" fmla="*/ 41 h 49"/>
                <a:gd name="T6" fmla="*/ 4 w 47"/>
                <a:gd name="T7" fmla="*/ 43 h 49"/>
                <a:gd name="T8" fmla="*/ 6 w 47"/>
                <a:gd name="T9" fmla="*/ 45 h 49"/>
                <a:gd name="T10" fmla="*/ 12 w 47"/>
                <a:gd name="T11" fmla="*/ 48 h 49"/>
                <a:gd name="T12" fmla="*/ 14 w 47"/>
                <a:gd name="T13" fmla="*/ 49 h 49"/>
                <a:gd name="T14" fmla="*/ 18 w 47"/>
                <a:gd name="T15" fmla="*/ 49 h 49"/>
                <a:gd name="T16" fmla="*/ 24 w 47"/>
                <a:gd name="T17" fmla="*/ 46 h 49"/>
                <a:gd name="T18" fmla="*/ 29 w 47"/>
                <a:gd name="T19" fmla="*/ 42 h 49"/>
                <a:gd name="T20" fmla="*/ 35 w 47"/>
                <a:gd name="T21" fmla="*/ 39 h 49"/>
                <a:gd name="T22" fmla="*/ 39 w 47"/>
                <a:gd name="T23" fmla="*/ 35 h 49"/>
                <a:gd name="T24" fmla="*/ 44 w 47"/>
                <a:gd name="T25" fmla="*/ 31 h 49"/>
                <a:gd name="T26" fmla="*/ 46 w 47"/>
                <a:gd name="T27" fmla="*/ 27 h 49"/>
                <a:gd name="T28" fmla="*/ 47 w 47"/>
                <a:gd name="T29" fmla="*/ 24 h 49"/>
                <a:gd name="T30" fmla="*/ 47 w 47"/>
                <a:gd name="T31" fmla="*/ 12 h 49"/>
                <a:gd name="T32" fmla="*/ 47 w 47"/>
                <a:gd name="T33" fmla="*/ 0 h 49"/>
                <a:gd name="T34" fmla="*/ 27 w 47"/>
                <a:gd name="T35" fmla="*/ 0 h 49"/>
                <a:gd name="T36" fmla="*/ 17 w 47"/>
                <a:gd name="T37" fmla="*/ 8 h 49"/>
                <a:gd name="T38" fmla="*/ 9 w 47"/>
                <a:gd name="T39" fmla="*/ 16 h 49"/>
                <a:gd name="T40" fmla="*/ 5 w 47"/>
                <a:gd name="T41" fmla="*/ 20 h 49"/>
                <a:gd name="T42" fmla="*/ 2 w 47"/>
                <a:gd name="T43" fmla="*/ 25 h 49"/>
                <a:gd name="T44" fmla="*/ 1 w 47"/>
                <a:gd name="T45" fmla="*/ 30 h 49"/>
                <a:gd name="T46" fmla="*/ 0 w 47"/>
                <a:gd name="T47" fmla="*/ 36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Freeform 56">
              <a:extLst>
                <a:ext uri="{FF2B5EF4-FFF2-40B4-BE49-F238E27FC236}">
                  <a16:creationId xmlns="" xmlns:a16="http://schemas.microsoft.com/office/drawing/2014/main" id="{76D0885A-37CB-E549-AD82-B305262665A9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484438" y="3313113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4 h 9"/>
                <a:gd name="T4" fmla="*/ 3 w 26"/>
                <a:gd name="T5" fmla="*/ 7 h 9"/>
                <a:gd name="T6" fmla="*/ 6 w 26"/>
                <a:gd name="T7" fmla="*/ 8 h 9"/>
                <a:gd name="T8" fmla="*/ 11 w 26"/>
                <a:gd name="T9" fmla="*/ 9 h 9"/>
                <a:gd name="T10" fmla="*/ 15 w 26"/>
                <a:gd name="T11" fmla="*/ 8 h 9"/>
                <a:gd name="T12" fmla="*/ 20 w 26"/>
                <a:gd name="T13" fmla="*/ 7 h 9"/>
                <a:gd name="T14" fmla="*/ 23 w 26"/>
                <a:gd name="T15" fmla="*/ 4 h 9"/>
                <a:gd name="T16" fmla="*/ 26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8" name="Freeform 57">
              <a:extLst>
                <a:ext uri="{FF2B5EF4-FFF2-40B4-BE49-F238E27FC236}">
                  <a16:creationId xmlns="" xmlns:a16="http://schemas.microsoft.com/office/drawing/2014/main" id="{997E527B-39AA-FB44-AB89-E2B65508898D}"/>
                </a:ext>
              </a:extLst>
            </p:cNvPr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1966913" y="2984500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18 h 18"/>
                <a:gd name="T4" fmla="*/ 6 w 39"/>
                <a:gd name="T5" fmla="*/ 18 h 18"/>
                <a:gd name="T6" fmla="*/ 13 w 39"/>
                <a:gd name="T7" fmla="*/ 18 h 18"/>
                <a:gd name="T8" fmla="*/ 23 w 39"/>
                <a:gd name="T9" fmla="*/ 17 h 18"/>
                <a:gd name="T10" fmla="*/ 30 w 39"/>
                <a:gd name="T11" fmla="*/ 14 h 18"/>
                <a:gd name="T12" fmla="*/ 34 w 39"/>
                <a:gd name="T13" fmla="*/ 12 h 18"/>
                <a:gd name="T14" fmla="*/ 37 w 39"/>
                <a:gd name="T15" fmla="*/ 10 h 18"/>
                <a:gd name="T16" fmla="*/ 38 w 39"/>
                <a:gd name="T17" fmla="*/ 8 h 18"/>
                <a:gd name="T18" fmla="*/ 39 w 39"/>
                <a:gd name="T19" fmla="*/ 6 h 18"/>
                <a:gd name="T20" fmla="*/ 29 w 39"/>
                <a:gd name="T21" fmla="*/ 5 h 18"/>
                <a:gd name="T22" fmla="*/ 19 w 39"/>
                <a:gd name="T23" fmla="*/ 3 h 18"/>
                <a:gd name="T24" fmla="*/ 10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79" name="Group 58">
              <a:extLst>
                <a:ext uri="{FF2B5EF4-FFF2-40B4-BE49-F238E27FC236}">
                  <a16:creationId xmlns="" xmlns:a16="http://schemas.microsoft.com/office/drawing/2014/main" id="{C37D9BE0-3E12-624B-909A-CCB89E29DE4F}"/>
                </a:ext>
              </a:extLst>
            </p:cNvPr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2092325" y="2817813"/>
              <a:ext cx="131763" cy="195262"/>
              <a:chOff x="1199" y="2121"/>
              <a:chExt cx="97" cy="123"/>
            </a:xfrm>
          </p:grpSpPr>
          <p:sp>
            <p:nvSpPr>
              <p:cNvPr id="80" name="Freeform 59">
                <a:extLst>
                  <a:ext uri="{FF2B5EF4-FFF2-40B4-BE49-F238E27FC236}">
                    <a16:creationId xmlns="" xmlns:a16="http://schemas.microsoft.com/office/drawing/2014/main" id="{71DBD22C-B6AE-5C47-B8FE-33AD06746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25 h 25"/>
                  <a:gd name="T2" fmla="*/ 7 w 52"/>
                  <a:gd name="T3" fmla="*/ 25 h 25"/>
                  <a:gd name="T4" fmla="*/ 15 w 52"/>
                  <a:gd name="T5" fmla="*/ 24 h 25"/>
                  <a:gd name="T6" fmla="*/ 23 w 52"/>
                  <a:gd name="T7" fmla="*/ 22 h 25"/>
                  <a:gd name="T8" fmla="*/ 30 w 52"/>
                  <a:gd name="T9" fmla="*/ 19 h 25"/>
                  <a:gd name="T10" fmla="*/ 38 w 52"/>
                  <a:gd name="T11" fmla="*/ 15 h 25"/>
                  <a:gd name="T12" fmla="*/ 43 w 52"/>
                  <a:gd name="T13" fmla="*/ 11 h 25"/>
                  <a:gd name="T14" fmla="*/ 49 w 52"/>
                  <a:gd name="T15" fmla="*/ 6 h 25"/>
                  <a:gd name="T16" fmla="*/ 52 w 52"/>
                  <a:gd name="T17" fmla="*/ 0 h 25"/>
                  <a:gd name="T18" fmla="*/ 40 w 52"/>
                  <a:gd name="T19" fmla="*/ 0 h 25"/>
                  <a:gd name="T20" fmla="*/ 31 w 52"/>
                  <a:gd name="T21" fmla="*/ 0 h 25"/>
                  <a:gd name="T22" fmla="*/ 23 w 52"/>
                  <a:gd name="T23" fmla="*/ 1 h 25"/>
                  <a:gd name="T24" fmla="*/ 16 w 52"/>
                  <a:gd name="T25" fmla="*/ 3 h 25"/>
                  <a:gd name="T26" fmla="*/ 11 w 52"/>
                  <a:gd name="T27" fmla="*/ 6 h 25"/>
                  <a:gd name="T28" fmla="*/ 5 w 52"/>
                  <a:gd name="T29" fmla="*/ 10 h 25"/>
                  <a:gd name="T30" fmla="*/ 2 w 52"/>
                  <a:gd name="T31" fmla="*/ 16 h 25"/>
                  <a:gd name="T32" fmla="*/ 0 w 52"/>
                  <a:gd name="T33" fmla="*/ 25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1" name="Freeform 60">
                <a:extLst>
                  <a:ext uri="{FF2B5EF4-FFF2-40B4-BE49-F238E27FC236}">
                    <a16:creationId xmlns="" xmlns:a16="http://schemas.microsoft.com/office/drawing/2014/main" id="{78197929-B851-5346-9EC4-74465DB683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6 h 13"/>
                  <a:gd name="T4" fmla="*/ 0 w 33"/>
                  <a:gd name="T5" fmla="*/ 13 h 13"/>
                  <a:gd name="T6" fmla="*/ 9 w 33"/>
                  <a:gd name="T7" fmla="*/ 13 h 13"/>
                  <a:gd name="T8" fmla="*/ 16 w 33"/>
                  <a:gd name="T9" fmla="*/ 13 h 13"/>
                  <a:gd name="T10" fmla="*/ 24 w 33"/>
                  <a:gd name="T11" fmla="*/ 11 h 13"/>
                  <a:gd name="T12" fmla="*/ 33 w 33"/>
                  <a:gd name="T13" fmla="*/ 6 h 13"/>
                  <a:gd name="T14" fmla="*/ 24 w 33"/>
                  <a:gd name="T15" fmla="*/ 3 h 13"/>
                  <a:gd name="T16" fmla="*/ 16 w 33"/>
                  <a:gd name="T17" fmla="*/ 1 h 13"/>
                  <a:gd name="T18" fmla="*/ 9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2" name="Freeform 61">
                <a:extLst>
                  <a:ext uri="{FF2B5EF4-FFF2-40B4-BE49-F238E27FC236}">
                    <a16:creationId xmlns="" xmlns:a16="http://schemas.microsoft.com/office/drawing/2014/main" id="{9FA17666-064F-8946-9AC8-A0A793944E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26 w 67"/>
                  <a:gd name="T1" fmla="*/ 18 h 86"/>
                  <a:gd name="T2" fmla="*/ 0 w 67"/>
                  <a:gd name="T3" fmla="*/ 0 h 86"/>
                  <a:gd name="T4" fmla="*/ 26 w 67"/>
                  <a:gd name="T5" fmla="*/ 0 h 86"/>
                  <a:gd name="T6" fmla="*/ 29 w 67"/>
                  <a:gd name="T7" fmla="*/ 4 h 86"/>
                  <a:gd name="T8" fmla="*/ 33 w 67"/>
                  <a:gd name="T9" fmla="*/ 8 h 86"/>
                  <a:gd name="T10" fmla="*/ 36 w 67"/>
                  <a:gd name="T11" fmla="*/ 11 h 86"/>
                  <a:gd name="T12" fmla="*/ 39 w 67"/>
                  <a:gd name="T13" fmla="*/ 14 h 86"/>
                  <a:gd name="T14" fmla="*/ 47 w 67"/>
                  <a:gd name="T15" fmla="*/ 17 h 86"/>
                  <a:gd name="T16" fmla="*/ 54 w 67"/>
                  <a:gd name="T17" fmla="*/ 18 h 86"/>
                  <a:gd name="T18" fmla="*/ 58 w 67"/>
                  <a:gd name="T19" fmla="*/ 30 h 86"/>
                  <a:gd name="T20" fmla="*/ 62 w 67"/>
                  <a:gd name="T21" fmla="*/ 40 h 86"/>
                  <a:gd name="T22" fmla="*/ 63 w 67"/>
                  <a:gd name="T23" fmla="*/ 45 h 86"/>
                  <a:gd name="T24" fmla="*/ 66 w 67"/>
                  <a:gd name="T25" fmla="*/ 50 h 86"/>
                  <a:gd name="T26" fmla="*/ 66 w 67"/>
                  <a:gd name="T27" fmla="*/ 55 h 86"/>
                  <a:gd name="T28" fmla="*/ 67 w 67"/>
                  <a:gd name="T29" fmla="*/ 61 h 86"/>
                  <a:gd name="T30" fmla="*/ 63 w 67"/>
                  <a:gd name="T31" fmla="*/ 74 h 86"/>
                  <a:gd name="T32" fmla="*/ 60 w 67"/>
                  <a:gd name="T33" fmla="*/ 86 h 86"/>
                  <a:gd name="T34" fmla="*/ 55 w 67"/>
                  <a:gd name="T35" fmla="*/ 69 h 86"/>
                  <a:gd name="T36" fmla="*/ 51 w 67"/>
                  <a:gd name="T37" fmla="*/ 54 h 86"/>
                  <a:gd name="T38" fmla="*/ 50 w 67"/>
                  <a:gd name="T39" fmla="*/ 47 h 86"/>
                  <a:gd name="T40" fmla="*/ 50 w 67"/>
                  <a:gd name="T41" fmla="*/ 41 h 86"/>
                  <a:gd name="T42" fmla="*/ 51 w 67"/>
                  <a:gd name="T43" fmla="*/ 35 h 86"/>
                  <a:gd name="T44" fmla="*/ 54 w 67"/>
                  <a:gd name="T45" fmla="*/ 30 h 86"/>
                  <a:gd name="T46" fmla="*/ 44 w 67"/>
                  <a:gd name="T47" fmla="*/ 30 h 86"/>
                  <a:gd name="T48" fmla="*/ 35 w 67"/>
                  <a:gd name="T49" fmla="*/ 29 h 86"/>
                  <a:gd name="T50" fmla="*/ 32 w 67"/>
                  <a:gd name="T51" fmla="*/ 27 h 86"/>
                  <a:gd name="T52" fmla="*/ 28 w 67"/>
                  <a:gd name="T53" fmla="*/ 25 h 86"/>
                  <a:gd name="T54" fmla="*/ 27 w 67"/>
                  <a:gd name="T55" fmla="*/ 22 h 86"/>
                  <a:gd name="T56" fmla="*/ 26 w 67"/>
                  <a:gd name="T57" fmla="*/ 18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3" name="Freeform 62">
                <a:extLst>
                  <a:ext uri="{FF2B5EF4-FFF2-40B4-BE49-F238E27FC236}">
                    <a16:creationId xmlns="" xmlns:a16="http://schemas.microsoft.com/office/drawing/2014/main" id="{6BA1F6D2-D0EA-BA4E-83FA-08C3D4388F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27 w 49"/>
                  <a:gd name="T1" fmla="*/ 12 h 86"/>
                  <a:gd name="T2" fmla="*/ 20 w 49"/>
                  <a:gd name="T3" fmla="*/ 6 h 86"/>
                  <a:gd name="T4" fmla="*/ 14 w 49"/>
                  <a:gd name="T5" fmla="*/ 0 h 86"/>
                  <a:gd name="T6" fmla="*/ 9 w 49"/>
                  <a:gd name="T7" fmla="*/ 5 h 86"/>
                  <a:gd name="T8" fmla="*/ 5 w 49"/>
                  <a:gd name="T9" fmla="*/ 13 h 86"/>
                  <a:gd name="T10" fmla="*/ 1 w 49"/>
                  <a:gd name="T11" fmla="*/ 21 h 86"/>
                  <a:gd name="T12" fmla="*/ 0 w 49"/>
                  <a:gd name="T13" fmla="*/ 30 h 86"/>
                  <a:gd name="T14" fmla="*/ 0 w 49"/>
                  <a:gd name="T15" fmla="*/ 36 h 86"/>
                  <a:gd name="T16" fmla="*/ 3 w 49"/>
                  <a:gd name="T17" fmla="*/ 43 h 86"/>
                  <a:gd name="T18" fmla="*/ 5 w 49"/>
                  <a:gd name="T19" fmla="*/ 50 h 86"/>
                  <a:gd name="T20" fmla="*/ 8 w 49"/>
                  <a:gd name="T21" fmla="*/ 58 h 86"/>
                  <a:gd name="T22" fmla="*/ 12 w 49"/>
                  <a:gd name="T23" fmla="*/ 66 h 86"/>
                  <a:gd name="T24" fmla="*/ 17 w 49"/>
                  <a:gd name="T25" fmla="*/ 74 h 86"/>
                  <a:gd name="T26" fmla="*/ 22 w 49"/>
                  <a:gd name="T27" fmla="*/ 80 h 86"/>
                  <a:gd name="T28" fmla="*/ 27 w 49"/>
                  <a:gd name="T29" fmla="*/ 86 h 86"/>
                  <a:gd name="T30" fmla="*/ 31 w 49"/>
                  <a:gd name="T31" fmla="*/ 79 h 86"/>
                  <a:gd name="T32" fmla="*/ 37 w 49"/>
                  <a:gd name="T33" fmla="*/ 69 h 86"/>
                  <a:gd name="T34" fmla="*/ 42 w 49"/>
                  <a:gd name="T35" fmla="*/ 57 h 86"/>
                  <a:gd name="T36" fmla="*/ 46 w 49"/>
                  <a:gd name="T37" fmla="*/ 45 h 86"/>
                  <a:gd name="T38" fmla="*/ 49 w 49"/>
                  <a:gd name="T39" fmla="*/ 39 h 86"/>
                  <a:gd name="T40" fmla="*/ 49 w 49"/>
                  <a:gd name="T41" fmla="*/ 33 h 86"/>
                  <a:gd name="T42" fmla="*/ 49 w 49"/>
                  <a:gd name="T43" fmla="*/ 26 h 86"/>
                  <a:gd name="T44" fmla="*/ 48 w 49"/>
                  <a:gd name="T45" fmla="*/ 22 h 86"/>
                  <a:gd name="T46" fmla="*/ 44 w 49"/>
                  <a:gd name="T47" fmla="*/ 18 h 86"/>
                  <a:gd name="T48" fmla="*/ 40 w 49"/>
                  <a:gd name="T49" fmla="*/ 15 h 86"/>
                  <a:gd name="T50" fmla="*/ 34 w 49"/>
                  <a:gd name="T51" fmla="*/ 13 h 86"/>
                  <a:gd name="T52" fmla="*/ 27 w 49"/>
                  <a:gd name="T53" fmla="*/ 12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4" name="Freeform 63">
                <a:extLst>
                  <a:ext uri="{FF2B5EF4-FFF2-40B4-BE49-F238E27FC236}">
                    <a16:creationId xmlns="" xmlns:a16="http://schemas.microsoft.com/office/drawing/2014/main" id="{E88619D4-9A5E-CE44-AE2F-4994656E07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12 h 12"/>
                  <a:gd name="T2" fmla="*/ 6 w 6"/>
                  <a:gd name="T3" fmla="*/ 0 h 12"/>
                  <a:gd name="T4" fmla="*/ 4 w 6"/>
                  <a:gd name="T5" fmla="*/ 0 h 12"/>
                  <a:gd name="T6" fmla="*/ 2 w 6"/>
                  <a:gd name="T7" fmla="*/ 2 h 12"/>
                  <a:gd name="T8" fmla="*/ 1 w 6"/>
                  <a:gd name="T9" fmla="*/ 4 h 12"/>
                  <a:gd name="T10" fmla="*/ 0 w 6"/>
                  <a:gd name="T11" fmla="*/ 6 h 12"/>
                  <a:gd name="T12" fmla="*/ 0 w 6"/>
                  <a:gd name="T13" fmla="*/ 10 h 12"/>
                  <a:gd name="T14" fmla="*/ 0 w 6"/>
                  <a:gd name="T15" fmla="*/ 12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5" name="Freeform 64">
                <a:extLst>
                  <a:ext uri="{FF2B5EF4-FFF2-40B4-BE49-F238E27FC236}">
                    <a16:creationId xmlns="" xmlns:a16="http://schemas.microsoft.com/office/drawing/2014/main" id="{AA673177-A769-4C49-8076-703917F5451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11 w 39"/>
                  <a:gd name="T3" fmla="*/ 9 h 48"/>
                  <a:gd name="T4" fmla="*/ 22 w 39"/>
                  <a:gd name="T5" fmla="*/ 17 h 48"/>
                  <a:gd name="T6" fmla="*/ 32 w 39"/>
                  <a:gd name="T7" fmla="*/ 24 h 48"/>
                  <a:gd name="T8" fmla="*/ 39 w 39"/>
                  <a:gd name="T9" fmla="*/ 30 h 48"/>
                  <a:gd name="T10" fmla="*/ 36 w 39"/>
                  <a:gd name="T11" fmla="*/ 39 h 48"/>
                  <a:gd name="T12" fmla="*/ 33 w 39"/>
                  <a:gd name="T13" fmla="*/ 48 h 48"/>
                  <a:gd name="T14" fmla="*/ 18 w 39"/>
                  <a:gd name="T15" fmla="*/ 36 h 48"/>
                  <a:gd name="T16" fmla="*/ 8 w 39"/>
                  <a:gd name="T17" fmla="*/ 26 h 48"/>
                  <a:gd name="T18" fmla="*/ 4 w 39"/>
                  <a:gd name="T19" fmla="*/ 21 h 48"/>
                  <a:gd name="T20" fmla="*/ 2 w 39"/>
                  <a:gd name="T21" fmla="*/ 15 h 48"/>
                  <a:gd name="T22" fmla="*/ 0 w 39"/>
                  <a:gd name="T23" fmla="*/ 8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Freeform 65">
                <a:extLst>
                  <a:ext uri="{FF2B5EF4-FFF2-40B4-BE49-F238E27FC236}">
                    <a16:creationId xmlns="" xmlns:a16="http://schemas.microsoft.com/office/drawing/2014/main" id="{736CB840-36C8-404B-A553-EA19DC9E55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7 w 16"/>
                  <a:gd name="T1" fmla="*/ 0 h 43"/>
                  <a:gd name="T2" fmla="*/ 11 w 16"/>
                  <a:gd name="T3" fmla="*/ 9 h 43"/>
                  <a:gd name="T4" fmla="*/ 15 w 16"/>
                  <a:gd name="T5" fmla="*/ 16 h 43"/>
                  <a:gd name="T6" fmla="*/ 16 w 16"/>
                  <a:gd name="T7" fmla="*/ 22 h 43"/>
                  <a:gd name="T8" fmla="*/ 16 w 16"/>
                  <a:gd name="T9" fmla="*/ 27 h 43"/>
                  <a:gd name="T10" fmla="*/ 15 w 16"/>
                  <a:gd name="T11" fmla="*/ 31 h 43"/>
                  <a:gd name="T12" fmla="*/ 11 w 16"/>
                  <a:gd name="T13" fmla="*/ 35 h 43"/>
                  <a:gd name="T14" fmla="*/ 7 w 16"/>
                  <a:gd name="T15" fmla="*/ 39 h 43"/>
                  <a:gd name="T16" fmla="*/ 0 w 16"/>
                  <a:gd name="T17" fmla="*/ 43 h 43"/>
                  <a:gd name="T18" fmla="*/ 2 w 16"/>
                  <a:gd name="T19" fmla="*/ 28 h 43"/>
                  <a:gd name="T20" fmla="*/ 4 w 16"/>
                  <a:gd name="T21" fmla="*/ 18 h 43"/>
                  <a:gd name="T22" fmla="*/ 6 w 16"/>
                  <a:gd name="T23" fmla="*/ 9 h 43"/>
                  <a:gd name="T24" fmla="*/ 7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7" name="Freeform 66">
                <a:extLst>
                  <a:ext uri="{FF2B5EF4-FFF2-40B4-BE49-F238E27FC236}">
                    <a16:creationId xmlns="" xmlns:a16="http://schemas.microsoft.com/office/drawing/2014/main" id="{337E2650-03EE-F240-9261-F7B2C1550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24 w 24"/>
                  <a:gd name="T1" fmla="*/ 36 h 37"/>
                  <a:gd name="T2" fmla="*/ 19 w 24"/>
                  <a:gd name="T3" fmla="*/ 27 h 37"/>
                  <a:gd name="T4" fmla="*/ 15 w 24"/>
                  <a:gd name="T5" fmla="*/ 18 h 37"/>
                  <a:gd name="T6" fmla="*/ 12 w 24"/>
                  <a:gd name="T7" fmla="*/ 9 h 37"/>
                  <a:gd name="T8" fmla="*/ 11 w 24"/>
                  <a:gd name="T9" fmla="*/ 0 h 37"/>
                  <a:gd name="T10" fmla="*/ 6 w 24"/>
                  <a:gd name="T11" fmla="*/ 10 h 37"/>
                  <a:gd name="T12" fmla="*/ 3 w 24"/>
                  <a:gd name="T13" fmla="*/ 19 h 37"/>
                  <a:gd name="T14" fmla="*/ 1 w 24"/>
                  <a:gd name="T15" fmla="*/ 26 h 37"/>
                  <a:gd name="T16" fmla="*/ 0 w 24"/>
                  <a:gd name="T17" fmla="*/ 31 h 37"/>
                  <a:gd name="T18" fmla="*/ 1 w 24"/>
                  <a:gd name="T19" fmla="*/ 33 h 37"/>
                  <a:gd name="T20" fmla="*/ 2 w 24"/>
                  <a:gd name="T21" fmla="*/ 35 h 37"/>
                  <a:gd name="T22" fmla="*/ 4 w 24"/>
                  <a:gd name="T23" fmla="*/ 36 h 37"/>
                  <a:gd name="T24" fmla="*/ 6 w 24"/>
                  <a:gd name="T25" fmla="*/ 37 h 37"/>
                  <a:gd name="T26" fmla="*/ 14 w 24"/>
                  <a:gd name="T27" fmla="*/ 37 h 37"/>
                  <a:gd name="T28" fmla="*/ 24 w 24"/>
                  <a:gd name="T29" fmla="*/ 36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8" name="Freeform 67">
                <a:extLst>
                  <a:ext uri="{FF2B5EF4-FFF2-40B4-BE49-F238E27FC236}">
                    <a16:creationId xmlns="" xmlns:a16="http://schemas.microsoft.com/office/drawing/2014/main" id="{F22B434A-3264-934B-8DB7-8B5225A0D8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34 w 34"/>
                  <a:gd name="T1" fmla="*/ 0 h 55"/>
                  <a:gd name="T2" fmla="*/ 34 w 34"/>
                  <a:gd name="T3" fmla="*/ 13 h 55"/>
                  <a:gd name="T4" fmla="*/ 34 w 34"/>
                  <a:gd name="T5" fmla="*/ 25 h 55"/>
                  <a:gd name="T6" fmla="*/ 33 w 34"/>
                  <a:gd name="T7" fmla="*/ 32 h 55"/>
                  <a:gd name="T8" fmla="*/ 31 w 34"/>
                  <a:gd name="T9" fmla="*/ 38 h 55"/>
                  <a:gd name="T10" fmla="*/ 29 w 34"/>
                  <a:gd name="T11" fmla="*/ 43 h 55"/>
                  <a:gd name="T12" fmla="*/ 24 w 34"/>
                  <a:gd name="T13" fmla="*/ 47 h 55"/>
                  <a:gd name="T14" fmla="*/ 20 w 34"/>
                  <a:gd name="T15" fmla="*/ 51 h 55"/>
                  <a:gd name="T16" fmla="*/ 14 w 34"/>
                  <a:gd name="T17" fmla="*/ 53 h 55"/>
                  <a:gd name="T18" fmla="*/ 8 w 34"/>
                  <a:gd name="T19" fmla="*/ 55 h 55"/>
                  <a:gd name="T20" fmla="*/ 0 w 34"/>
                  <a:gd name="T21" fmla="*/ 55 h 55"/>
                  <a:gd name="T22" fmla="*/ 9 w 34"/>
                  <a:gd name="T23" fmla="*/ 36 h 55"/>
                  <a:gd name="T24" fmla="*/ 14 w 34"/>
                  <a:gd name="T25" fmla="*/ 21 h 55"/>
                  <a:gd name="T26" fmla="*/ 18 w 34"/>
                  <a:gd name="T27" fmla="*/ 16 h 55"/>
                  <a:gd name="T28" fmla="*/ 22 w 34"/>
                  <a:gd name="T29" fmla="*/ 10 h 55"/>
                  <a:gd name="T30" fmla="*/ 28 w 34"/>
                  <a:gd name="T31" fmla="*/ 5 h 55"/>
                  <a:gd name="T32" fmla="*/ 34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9" name="Freeform 68">
                <a:extLst>
                  <a:ext uri="{FF2B5EF4-FFF2-40B4-BE49-F238E27FC236}">
                    <a16:creationId xmlns="" xmlns:a16="http://schemas.microsoft.com/office/drawing/2014/main" id="{5B314091-7DF5-1347-AE50-EAC356C247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2 w 33"/>
                  <a:gd name="T3" fmla="*/ 4 h 12"/>
                  <a:gd name="T4" fmla="*/ 6 w 33"/>
                  <a:gd name="T5" fmla="*/ 7 h 12"/>
                  <a:gd name="T6" fmla="*/ 10 w 33"/>
                  <a:gd name="T7" fmla="*/ 9 h 12"/>
                  <a:gd name="T8" fmla="*/ 14 w 33"/>
                  <a:gd name="T9" fmla="*/ 11 h 12"/>
                  <a:gd name="T10" fmla="*/ 23 w 33"/>
                  <a:gd name="T11" fmla="*/ 12 h 12"/>
                  <a:gd name="T12" fmla="*/ 33 w 33"/>
                  <a:gd name="T13" fmla="*/ 12 h 12"/>
                  <a:gd name="T14" fmla="*/ 28 w 33"/>
                  <a:gd name="T15" fmla="*/ 8 h 12"/>
                  <a:gd name="T16" fmla="*/ 19 w 33"/>
                  <a:gd name="T17" fmla="*/ 4 h 12"/>
                  <a:gd name="T18" fmla="*/ 10 w 33"/>
                  <a:gd name="T19" fmla="*/ 1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0" name="Freeform 69">
              <a:extLst>
                <a:ext uri="{FF2B5EF4-FFF2-40B4-BE49-F238E27FC236}">
                  <a16:creationId xmlns="" xmlns:a16="http://schemas.microsoft.com/office/drawing/2014/main" id="{F7A874BB-6E9D-504E-BFEA-14B315B920E1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7905750" y="4244975"/>
              <a:ext cx="12700" cy="57150"/>
            </a:xfrm>
            <a:custGeom>
              <a:avLst/>
              <a:gdLst>
                <a:gd name="T0" fmla="*/ 0 w 33"/>
                <a:gd name="T1" fmla="*/ 62 h 62"/>
                <a:gd name="T2" fmla="*/ 0 w 33"/>
                <a:gd name="T3" fmla="*/ 53 h 62"/>
                <a:gd name="T4" fmla="*/ 0 w 33"/>
                <a:gd name="T5" fmla="*/ 45 h 62"/>
                <a:gd name="T6" fmla="*/ 0 w 33"/>
                <a:gd name="T7" fmla="*/ 37 h 62"/>
                <a:gd name="T8" fmla="*/ 0 w 33"/>
                <a:gd name="T9" fmla="*/ 31 h 62"/>
                <a:gd name="T10" fmla="*/ 0 w 33"/>
                <a:gd name="T11" fmla="*/ 26 h 62"/>
                <a:gd name="T12" fmla="*/ 2 w 33"/>
                <a:gd name="T13" fmla="*/ 22 h 62"/>
                <a:gd name="T14" fmla="*/ 4 w 33"/>
                <a:gd name="T15" fmla="*/ 17 h 62"/>
                <a:gd name="T16" fmla="*/ 8 w 33"/>
                <a:gd name="T17" fmla="*/ 13 h 62"/>
                <a:gd name="T18" fmla="*/ 14 w 33"/>
                <a:gd name="T19" fmla="*/ 6 h 62"/>
                <a:gd name="T20" fmla="*/ 20 w 33"/>
                <a:gd name="T21" fmla="*/ 0 h 62"/>
                <a:gd name="T22" fmla="*/ 26 w 33"/>
                <a:gd name="T23" fmla="*/ 6 h 62"/>
                <a:gd name="T24" fmla="*/ 33 w 33"/>
                <a:gd name="T25" fmla="*/ 13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1" name="Freeform 70">
              <a:extLst>
                <a:ext uri="{FF2B5EF4-FFF2-40B4-BE49-F238E27FC236}">
                  <a16:creationId xmlns="" xmlns:a16="http://schemas.microsoft.com/office/drawing/2014/main" id="{095EADAC-0553-F745-BBAC-3ABC7C5884AA}"/>
                </a:ext>
              </a:extLst>
            </p:cNvPr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7915275" y="4335463"/>
              <a:ext cx="9525" cy="58737"/>
            </a:xfrm>
            <a:custGeom>
              <a:avLst/>
              <a:gdLst>
                <a:gd name="T0" fmla="*/ 0 w 26"/>
                <a:gd name="T1" fmla="*/ 18 h 18"/>
                <a:gd name="T2" fmla="*/ 0 w 26"/>
                <a:gd name="T3" fmla="*/ 0 h 18"/>
                <a:gd name="T4" fmla="*/ 26 w 26"/>
                <a:gd name="T5" fmla="*/ 0 h 18"/>
                <a:gd name="T6" fmla="*/ 6 w 26"/>
                <a:gd name="T7" fmla="*/ 12 h 18"/>
                <a:gd name="T8" fmla="*/ 6 w 26"/>
                <a:gd name="T9" fmla="*/ 6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Freeform 71">
              <a:extLst>
                <a:ext uri="{FF2B5EF4-FFF2-40B4-BE49-F238E27FC236}">
                  <a16:creationId xmlns="" xmlns:a16="http://schemas.microsoft.com/office/drawing/2014/main" id="{CC470E6F-1143-BC44-AC75-1457E5EAACC0}"/>
                </a:ext>
              </a:extLst>
            </p:cNvPr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8029575" y="4244975"/>
              <a:ext cx="77788" cy="130175"/>
            </a:xfrm>
            <a:custGeom>
              <a:avLst/>
              <a:gdLst>
                <a:gd name="T0" fmla="*/ 180 w 180"/>
                <a:gd name="T1" fmla="*/ 222 h 240"/>
                <a:gd name="T2" fmla="*/ 175 w 180"/>
                <a:gd name="T3" fmla="*/ 223 h 240"/>
                <a:gd name="T4" fmla="*/ 171 w 180"/>
                <a:gd name="T5" fmla="*/ 223 h 240"/>
                <a:gd name="T6" fmla="*/ 167 w 180"/>
                <a:gd name="T7" fmla="*/ 225 h 240"/>
                <a:gd name="T8" fmla="*/ 164 w 180"/>
                <a:gd name="T9" fmla="*/ 227 h 240"/>
                <a:gd name="T10" fmla="*/ 158 w 180"/>
                <a:gd name="T11" fmla="*/ 232 h 240"/>
                <a:gd name="T12" fmla="*/ 153 w 180"/>
                <a:gd name="T13" fmla="*/ 240 h 240"/>
                <a:gd name="T14" fmla="*/ 140 w 180"/>
                <a:gd name="T15" fmla="*/ 232 h 240"/>
                <a:gd name="T16" fmla="*/ 131 w 180"/>
                <a:gd name="T17" fmla="*/ 223 h 240"/>
                <a:gd name="T18" fmla="*/ 123 w 180"/>
                <a:gd name="T19" fmla="*/ 214 h 240"/>
                <a:gd name="T20" fmla="*/ 118 w 180"/>
                <a:gd name="T21" fmla="*/ 206 h 240"/>
                <a:gd name="T22" fmla="*/ 112 w 180"/>
                <a:gd name="T23" fmla="*/ 195 h 240"/>
                <a:gd name="T24" fmla="*/ 106 w 180"/>
                <a:gd name="T25" fmla="*/ 185 h 240"/>
                <a:gd name="T26" fmla="*/ 98 w 180"/>
                <a:gd name="T27" fmla="*/ 174 h 240"/>
                <a:gd name="T28" fmla="*/ 87 w 180"/>
                <a:gd name="T29" fmla="*/ 161 h 240"/>
                <a:gd name="T30" fmla="*/ 82 w 180"/>
                <a:gd name="T31" fmla="*/ 153 h 240"/>
                <a:gd name="T32" fmla="*/ 75 w 180"/>
                <a:gd name="T33" fmla="*/ 146 h 240"/>
                <a:gd name="T34" fmla="*/ 70 w 180"/>
                <a:gd name="T35" fmla="*/ 139 h 240"/>
                <a:gd name="T36" fmla="*/ 62 w 180"/>
                <a:gd name="T37" fmla="*/ 133 h 240"/>
                <a:gd name="T38" fmla="*/ 48 w 180"/>
                <a:gd name="T39" fmla="*/ 121 h 240"/>
                <a:gd name="T40" fmla="*/ 33 w 180"/>
                <a:gd name="T41" fmla="*/ 110 h 240"/>
                <a:gd name="T42" fmla="*/ 27 w 180"/>
                <a:gd name="T43" fmla="*/ 104 h 240"/>
                <a:gd name="T44" fmla="*/ 21 w 180"/>
                <a:gd name="T45" fmla="*/ 98 h 240"/>
                <a:gd name="T46" fmla="*/ 15 w 180"/>
                <a:gd name="T47" fmla="*/ 92 h 240"/>
                <a:gd name="T48" fmla="*/ 10 w 180"/>
                <a:gd name="T49" fmla="*/ 84 h 240"/>
                <a:gd name="T50" fmla="*/ 6 w 180"/>
                <a:gd name="T51" fmla="*/ 77 h 240"/>
                <a:gd name="T52" fmla="*/ 4 w 180"/>
                <a:gd name="T53" fmla="*/ 68 h 240"/>
                <a:gd name="T54" fmla="*/ 1 w 180"/>
                <a:gd name="T55" fmla="*/ 60 h 240"/>
                <a:gd name="T56" fmla="*/ 0 w 180"/>
                <a:gd name="T57" fmla="*/ 50 h 240"/>
                <a:gd name="T58" fmla="*/ 0 w 180"/>
                <a:gd name="T59" fmla="*/ 35 h 240"/>
                <a:gd name="T60" fmla="*/ 0 w 180"/>
                <a:gd name="T61" fmla="*/ 25 h 240"/>
                <a:gd name="T62" fmla="*/ 0 w 180"/>
                <a:gd name="T63" fmla="*/ 15 h 240"/>
                <a:gd name="T64" fmla="*/ 0 w 180"/>
                <a:gd name="T65" fmla="*/ 0 h 240"/>
                <a:gd name="T66" fmla="*/ 10 w 180"/>
                <a:gd name="T67" fmla="*/ 8 h 240"/>
                <a:gd name="T68" fmla="*/ 19 w 180"/>
                <a:gd name="T69" fmla="*/ 17 h 240"/>
                <a:gd name="T70" fmla="*/ 27 w 180"/>
                <a:gd name="T71" fmla="*/ 27 h 240"/>
                <a:gd name="T72" fmla="*/ 34 w 180"/>
                <a:gd name="T73" fmla="*/ 38 h 240"/>
                <a:gd name="T74" fmla="*/ 41 w 180"/>
                <a:gd name="T75" fmla="*/ 48 h 240"/>
                <a:gd name="T76" fmla="*/ 46 w 180"/>
                <a:gd name="T77" fmla="*/ 58 h 240"/>
                <a:gd name="T78" fmla="*/ 51 w 180"/>
                <a:gd name="T79" fmla="*/ 66 h 240"/>
                <a:gd name="T80" fmla="*/ 54 w 180"/>
                <a:gd name="T81" fmla="*/ 74 h 240"/>
                <a:gd name="T82" fmla="*/ 60 w 180"/>
                <a:gd name="T83" fmla="*/ 86 h 240"/>
                <a:gd name="T84" fmla="*/ 66 w 180"/>
                <a:gd name="T85" fmla="*/ 98 h 240"/>
                <a:gd name="T86" fmla="*/ 74 w 180"/>
                <a:gd name="T87" fmla="*/ 107 h 240"/>
                <a:gd name="T88" fmla="*/ 82 w 180"/>
                <a:gd name="T89" fmla="*/ 116 h 240"/>
                <a:gd name="T90" fmla="*/ 100 w 180"/>
                <a:gd name="T91" fmla="*/ 133 h 240"/>
                <a:gd name="T92" fmla="*/ 119 w 180"/>
                <a:gd name="T93" fmla="*/ 149 h 240"/>
                <a:gd name="T94" fmla="*/ 139 w 180"/>
                <a:gd name="T95" fmla="*/ 164 h 240"/>
                <a:gd name="T96" fmla="*/ 155 w 180"/>
                <a:gd name="T97" fmla="*/ 180 h 240"/>
                <a:gd name="T98" fmla="*/ 163 w 180"/>
                <a:gd name="T99" fmla="*/ 189 h 240"/>
                <a:gd name="T100" fmla="*/ 169 w 180"/>
                <a:gd name="T101" fmla="*/ 199 h 240"/>
                <a:gd name="T102" fmla="*/ 175 w 180"/>
                <a:gd name="T103" fmla="*/ 210 h 240"/>
                <a:gd name="T104" fmla="*/ 180 w 180"/>
                <a:gd name="T105" fmla="*/ 222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Freeform 72">
              <a:extLst>
                <a:ext uri="{FF2B5EF4-FFF2-40B4-BE49-F238E27FC236}">
                  <a16:creationId xmlns="" xmlns:a16="http://schemas.microsoft.com/office/drawing/2014/main" id="{DE8BD546-13E7-1F40-A9D6-2B7D4CBC6F41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8029575" y="4217988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1 w 27"/>
                <a:gd name="T3" fmla="*/ 5 h 30"/>
                <a:gd name="T4" fmla="*/ 3 w 27"/>
                <a:gd name="T5" fmla="*/ 11 h 30"/>
                <a:gd name="T6" fmla="*/ 4 w 27"/>
                <a:gd name="T7" fmla="*/ 14 h 30"/>
                <a:gd name="T8" fmla="*/ 4 w 27"/>
                <a:gd name="T9" fmla="*/ 19 h 30"/>
                <a:gd name="T10" fmla="*/ 3 w 27"/>
                <a:gd name="T11" fmla="*/ 24 h 30"/>
                <a:gd name="T12" fmla="*/ 0 w 27"/>
                <a:gd name="T13" fmla="*/ 30 h 30"/>
                <a:gd name="T14" fmla="*/ 17 w 27"/>
                <a:gd name="T15" fmla="*/ 27 h 30"/>
                <a:gd name="T16" fmla="*/ 27 w 27"/>
                <a:gd name="T17" fmla="*/ 24 h 30"/>
                <a:gd name="T18" fmla="*/ 23 w 27"/>
                <a:gd name="T19" fmla="*/ 20 h 30"/>
                <a:gd name="T20" fmla="*/ 17 w 27"/>
                <a:gd name="T21" fmla="*/ 12 h 30"/>
                <a:gd name="T22" fmla="*/ 11 w 27"/>
                <a:gd name="T23" fmla="*/ 8 h 30"/>
                <a:gd name="T24" fmla="*/ 7 w 27"/>
                <a:gd name="T25" fmla="*/ 4 h 30"/>
                <a:gd name="T26" fmla="*/ 4 w 27"/>
                <a:gd name="T27" fmla="*/ 1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94" name="Group 73">
              <a:extLst>
                <a:ext uri="{FF2B5EF4-FFF2-40B4-BE49-F238E27FC236}">
                  <a16:creationId xmlns="" xmlns:a16="http://schemas.microsoft.com/office/drawing/2014/main" id="{FCCC7EF5-B664-A54B-8D50-61C39E2E3A3B}"/>
                </a:ext>
              </a:extLst>
            </p:cNvPr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7720013" y="4738688"/>
              <a:ext cx="458787" cy="404812"/>
              <a:chOff x="5372" y="3323"/>
              <a:chExt cx="341" cy="253"/>
            </a:xfrm>
          </p:grpSpPr>
          <p:sp>
            <p:nvSpPr>
              <p:cNvPr id="95" name="Freeform 74">
                <a:extLst>
                  <a:ext uri="{FF2B5EF4-FFF2-40B4-BE49-F238E27FC236}">
                    <a16:creationId xmlns="" xmlns:a16="http://schemas.microsoft.com/office/drawing/2014/main" id="{D8888411-C7D4-A24A-AB83-02281CA6E6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6" name="Freeform 75">
                <a:extLst>
                  <a:ext uri="{FF2B5EF4-FFF2-40B4-BE49-F238E27FC236}">
                    <a16:creationId xmlns="" xmlns:a16="http://schemas.microsoft.com/office/drawing/2014/main" id="{83109CBC-2C45-6E4D-A405-E90FA529B0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7" name="Freeform 76">
                <a:extLst>
                  <a:ext uri="{FF2B5EF4-FFF2-40B4-BE49-F238E27FC236}">
                    <a16:creationId xmlns="" xmlns:a16="http://schemas.microsoft.com/office/drawing/2014/main" id="{A445F59F-3FCB-D647-A95C-E0EF700380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98" name="Freeform 77">
              <a:extLst>
                <a:ext uri="{FF2B5EF4-FFF2-40B4-BE49-F238E27FC236}">
                  <a16:creationId xmlns="" xmlns:a16="http://schemas.microsoft.com/office/drawing/2014/main" id="{055C674C-A1EB-F440-921A-066298E27A64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7362825" y="3395663"/>
              <a:ext cx="9525" cy="57150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78">
              <a:extLst>
                <a:ext uri="{FF2B5EF4-FFF2-40B4-BE49-F238E27FC236}">
                  <a16:creationId xmlns="" xmlns:a16="http://schemas.microsoft.com/office/drawing/2014/main" id="{DCEE2740-1550-C349-A81E-8255A7DCCA08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089900" y="4297363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5 w 33"/>
                <a:gd name="T3" fmla="*/ 5 h 24"/>
                <a:gd name="T4" fmla="*/ 10 w 33"/>
                <a:gd name="T5" fmla="*/ 10 h 24"/>
                <a:gd name="T6" fmla="*/ 11 w 33"/>
                <a:gd name="T7" fmla="*/ 13 h 24"/>
                <a:gd name="T8" fmla="*/ 12 w 33"/>
                <a:gd name="T9" fmla="*/ 16 h 24"/>
                <a:gd name="T10" fmla="*/ 13 w 33"/>
                <a:gd name="T11" fmla="*/ 20 h 24"/>
                <a:gd name="T12" fmla="*/ 13 w 33"/>
                <a:gd name="T13" fmla="*/ 24 h 24"/>
                <a:gd name="T14" fmla="*/ 33 w 33"/>
                <a:gd name="T15" fmla="*/ 0 h 24"/>
                <a:gd name="T16" fmla="*/ 24 w 33"/>
                <a:gd name="T17" fmla="*/ 0 h 24"/>
                <a:gd name="T18" fmla="*/ 16 w 33"/>
                <a:gd name="T19" fmla="*/ 0 h 24"/>
                <a:gd name="T20" fmla="*/ 9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Freeform 79">
              <a:extLst>
                <a:ext uri="{FF2B5EF4-FFF2-40B4-BE49-F238E27FC236}">
                  <a16:creationId xmlns="" xmlns:a16="http://schemas.microsoft.com/office/drawing/2014/main" id="{734C3E72-1F1D-EB46-A92A-5B8117D56BA1}"/>
                </a:ext>
              </a:extLst>
            </p:cNvPr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112125" y="4306888"/>
              <a:ext cx="17463" cy="58737"/>
            </a:xfrm>
            <a:custGeom>
              <a:avLst/>
              <a:gdLst>
                <a:gd name="T0" fmla="*/ 26 w 33"/>
                <a:gd name="T1" fmla="*/ 25 h 25"/>
                <a:gd name="T2" fmla="*/ 29 w 33"/>
                <a:gd name="T3" fmla="*/ 22 h 25"/>
                <a:gd name="T4" fmla="*/ 33 w 33"/>
                <a:gd name="T5" fmla="*/ 18 h 25"/>
                <a:gd name="T6" fmla="*/ 33 w 33"/>
                <a:gd name="T7" fmla="*/ 0 h 25"/>
                <a:gd name="T8" fmla="*/ 25 w 33"/>
                <a:gd name="T9" fmla="*/ 0 h 25"/>
                <a:gd name="T10" fmla="*/ 16 w 33"/>
                <a:gd name="T11" fmla="*/ 0 h 25"/>
                <a:gd name="T12" fmla="*/ 6 w 33"/>
                <a:gd name="T13" fmla="*/ 0 h 25"/>
                <a:gd name="T14" fmla="*/ 0 w 33"/>
                <a:gd name="T15" fmla="*/ 0 h 25"/>
                <a:gd name="T16" fmla="*/ 26 w 33"/>
                <a:gd name="T17" fmla="*/ 25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80">
              <a:extLst>
                <a:ext uri="{FF2B5EF4-FFF2-40B4-BE49-F238E27FC236}">
                  <a16:creationId xmlns="" xmlns:a16="http://schemas.microsoft.com/office/drawing/2014/main" id="{B356B447-6854-1D45-8A86-76584192396F}"/>
                </a:ext>
              </a:extLst>
            </p:cNvPr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7426325" y="3384550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81">
              <a:extLst>
                <a:ext uri="{FF2B5EF4-FFF2-40B4-BE49-F238E27FC236}">
                  <a16:creationId xmlns="" xmlns:a16="http://schemas.microsoft.com/office/drawing/2014/main" id="{A7306491-2215-1B4C-85D9-F9EE2F3CD67F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485063" y="3328988"/>
              <a:ext cx="6350" cy="57150"/>
            </a:xfrm>
            <a:custGeom>
              <a:avLst/>
              <a:gdLst>
                <a:gd name="T0" fmla="*/ 16 w 16"/>
                <a:gd name="T1" fmla="*/ 0 h 25"/>
                <a:gd name="T2" fmla="*/ 16 w 16"/>
                <a:gd name="T3" fmla="*/ 6 h 25"/>
                <a:gd name="T4" fmla="*/ 14 w 16"/>
                <a:gd name="T5" fmla="*/ 13 h 25"/>
                <a:gd name="T6" fmla="*/ 13 w 16"/>
                <a:gd name="T7" fmla="*/ 16 h 25"/>
                <a:gd name="T8" fmla="*/ 11 w 16"/>
                <a:gd name="T9" fmla="*/ 20 h 25"/>
                <a:gd name="T10" fmla="*/ 7 w 16"/>
                <a:gd name="T11" fmla="*/ 23 h 25"/>
                <a:gd name="T12" fmla="*/ 3 w 16"/>
                <a:gd name="T13" fmla="*/ 25 h 25"/>
                <a:gd name="T14" fmla="*/ 1 w 16"/>
                <a:gd name="T15" fmla="*/ 24 h 25"/>
                <a:gd name="T16" fmla="*/ 0 w 16"/>
                <a:gd name="T17" fmla="*/ 21 h 25"/>
                <a:gd name="T18" fmla="*/ 1 w 16"/>
                <a:gd name="T19" fmla="*/ 18 h 25"/>
                <a:gd name="T20" fmla="*/ 2 w 16"/>
                <a:gd name="T21" fmla="*/ 13 h 25"/>
                <a:gd name="T22" fmla="*/ 4 w 16"/>
                <a:gd name="T23" fmla="*/ 9 h 25"/>
                <a:gd name="T24" fmla="*/ 7 w 16"/>
                <a:gd name="T25" fmla="*/ 4 h 25"/>
                <a:gd name="T26" fmla="*/ 11 w 16"/>
                <a:gd name="T27" fmla="*/ 1 h 25"/>
                <a:gd name="T28" fmla="*/ 16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Freeform 82">
              <a:extLst>
                <a:ext uri="{FF2B5EF4-FFF2-40B4-BE49-F238E27FC236}">
                  <a16:creationId xmlns="" xmlns:a16="http://schemas.microsoft.com/office/drawing/2014/main" id="{AD942DDF-E845-0040-9E48-5F424C17FD34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597775" y="3217863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3 w 14"/>
                <a:gd name="T3" fmla="*/ 1 h 18"/>
                <a:gd name="T4" fmla="*/ 5 w 14"/>
                <a:gd name="T5" fmla="*/ 2 h 18"/>
                <a:gd name="T6" fmla="*/ 7 w 14"/>
                <a:gd name="T7" fmla="*/ 4 h 18"/>
                <a:gd name="T8" fmla="*/ 9 w 14"/>
                <a:gd name="T9" fmla="*/ 7 h 18"/>
                <a:gd name="T10" fmla="*/ 13 w 14"/>
                <a:gd name="T11" fmla="*/ 13 h 18"/>
                <a:gd name="T12" fmla="*/ 14 w 14"/>
                <a:gd name="T13" fmla="*/ 18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4" name="Freeform 83">
              <a:extLst>
                <a:ext uri="{FF2B5EF4-FFF2-40B4-BE49-F238E27FC236}">
                  <a16:creationId xmlns="" xmlns:a16="http://schemas.microsoft.com/office/drawing/2014/main" id="{09D361A8-E6C0-ED4C-AE0E-2C636B755486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750175" y="3916363"/>
              <a:ext cx="26988" cy="58737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5" name="Freeform 84">
              <a:extLst>
                <a:ext uri="{FF2B5EF4-FFF2-40B4-BE49-F238E27FC236}">
                  <a16:creationId xmlns="" xmlns:a16="http://schemas.microsoft.com/office/drawing/2014/main" id="{C4BFD15B-6AD1-364F-9944-328A790895FB}"/>
                </a:ext>
              </a:extLst>
            </p:cNvPr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813675" y="3930650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 w 34"/>
                <a:gd name="T3" fmla="*/ 3 h 38"/>
                <a:gd name="T4" fmla="*/ 4 w 34"/>
                <a:gd name="T5" fmla="*/ 7 h 38"/>
                <a:gd name="T6" fmla="*/ 5 w 34"/>
                <a:gd name="T7" fmla="*/ 11 h 38"/>
                <a:gd name="T8" fmla="*/ 6 w 34"/>
                <a:gd name="T9" fmla="*/ 16 h 38"/>
                <a:gd name="T10" fmla="*/ 10 w 34"/>
                <a:gd name="T11" fmla="*/ 28 h 38"/>
                <a:gd name="T12" fmla="*/ 13 w 34"/>
                <a:gd name="T13" fmla="*/ 38 h 38"/>
                <a:gd name="T14" fmla="*/ 16 w 34"/>
                <a:gd name="T15" fmla="*/ 37 h 38"/>
                <a:gd name="T16" fmla="*/ 20 w 34"/>
                <a:gd name="T17" fmla="*/ 36 h 38"/>
                <a:gd name="T18" fmla="*/ 23 w 34"/>
                <a:gd name="T19" fmla="*/ 34 h 38"/>
                <a:gd name="T20" fmla="*/ 26 w 34"/>
                <a:gd name="T21" fmla="*/ 31 h 38"/>
                <a:gd name="T22" fmla="*/ 28 w 34"/>
                <a:gd name="T23" fmla="*/ 28 h 38"/>
                <a:gd name="T24" fmla="*/ 32 w 34"/>
                <a:gd name="T25" fmla="*/ 24 h 38"/>
                <a:gd name="T26" fmla="*/ 33 w 34"/>
                <a:gd name="T27" fmla="*/ 21 h 38"/>
                <a:gd name="T28" fmla="*/ 34 w 34"/>
                <a:gd name="T29" fmla="*/ 19 h 38"/>
                <a:gd name="T30" fmla="*/ 31 w 34"/>
                <a:gd name="T31" fmla="*/ 18 h 38"/>
                <a:gd name="T32" fmla="*/ 28 w 34"/>
                <a:gd name="T33" fmla="*/ 17 h 38"/>
                <a:gd name="T34" fmla="*/ 26 w 34"/>
                <a:gd name="T35" fmla="*/ 14 h 38"/>
                <a:gd name="T36" fmla="*/ 24 w 34"/>
                <a:gd name="T37" fmla="*/ 12 h 38"/>
                <a:gd name="T38" fmla="*/ 19 w 34"/>
                <a:gd name="T39" fmla="*/ 6 h 38"/>
                <a:gd name="T40" fmla="*/ 13 w 34"/>
                <a:gd name="T41" fmla="*/ 0 h 38"/>
                <a:gd name="T42" fmla="*/ 6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6" name="Freeform 85">
              <a:extLst>
                <a:ext uri="{FF2B5EF4-FFF2-40B4-BE49-F238E27FC236}">
                  <a16:creationId xmlns="" xmlns:a16="http://schemas.microsoft.com/office/drawing/2014/main" id="{6E3692B0-7A2A-504D-A7A2-7F66504EBD04}"/>
                </a:ext>
              </a:extLst>
            </p:cNvPr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7670800" y="3706813"/>
              <a:ext cx="25400" cy="55562"/>
            </a:xfrm>
            <a:custGeom>
              <a:avLst/>
              <a:gdLst>
                <a:gd name="T0" fmla="*/ 53 w 53"/>
                <a:gd name="T1" fmla="*/ 23 h 23"/>
                <a:gd name="T2" fmla="*/ 53 w 53"/>
                <a:gd name="T3" fmla="*/ 4 h 23"/>
                <a:gd name="T4" fmla="*/ 49 w 53"/>
                <a:gd name="T5" fmla="*/ 2 h 23"/>
                <a:gd name="T6" fmla="*/ 45 w 53"/>
                <a:gd name="T7" fmla="*/ 1 h 23"/>
                <a:gd name="T8" fmla="*/ 42 w 53"/>
                <a:gd name="T9" fmla="*/ 0 h 23"/>
                <a:gd name="T10" fmla="*/ 38 w 53"/>
                <a:gd name="T11" fmla="*/ 0 h 23"/>
                <a:gd name="T12" fmla="*/ 31 w 53"/>
                <a:gd name="T13" fmla="*/ 1 h 23"/>
                <a:gd name="T14" fmla="*/ 24 w 53"/>
                <a:gd name="T15" fmla="*/ 4 h 23"/>
                <a:gd name="T16" fmla="*/ 11 w 53"/>
                <a:gd name="T17" fmla="*/ 13 h 23"/>
                <a:gd name="T18" fmla="*/ 0 w 53"/>
                <a:gd name="T19" fmla="*/ 23 h 23"/>
                <a:gd name="T20" fmla="*/ 53 w 53"/>
                <a:gd name="T21" fmla="*/ 23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7" name="Freeform 86">
              <a:extLst>
                <a:ext uri="{FF2B5EF4-FFF2-40B4-BE49-F238E27FC236}">
                  <a16:creationId xmlns="" xmlns:a16="http://schemas.microsoft.com/office/drawing/2014/main" id="{C21BFC0D-34DF-CD47-B5BE-1BDC471EF9C0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7613650" y="3681413"/>
              <a:ext cx="11113" cy="57150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Freeform 87">
              <a:extLst>
                <a:ext uri="{FF2B5EF4-FFF2-40B4-BE49-F238E27FC236}">
                  <a16:creationId xmlns="" xmlns:a16="http://schemas.microsoft.com/office/drawing/2014/main" id="{7DEF6B1D-F40B-4F47-9B39-7ED66E90FAAE}"/>
                </a:ext>
              </a:extLst>
            </p:cNvPr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7813675" y="4013200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20 w 73"/>
                <a:gd name="T3" fmla="*/ 0 h 57150"/>
                <a:gd name="T4" fmla="*/ 37 w 73"/>
                <a:gd name="T5" fmla="*/ 0 h 57150"/>
                <a:gd name="T6" fmla="*/ 55 w 73"/>
                <a:gd name="T7" fmla="*/ 0 h 57150"/>
                <a:gd name="T8" fmla="*/ 73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Freeform 88">
              <a:extLst>
                <a:ext uri="{FF2B5EF4-FFF2-40B4-BE49-F238E27FC236}">
                  <a16:creationId xmlns="" xmlns:a16="http://schemas.microsoft.com/office/drawing/2014/main" id="{08CC0CC1-7131-4C4F-BBED-B44FD4D14251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7769225" y="4002088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14 w 53"/>
                <a:gd name="T3" fmla="*/ 0 h 3"/>
                <a:gd name="T4" fmla="*/ 27 w 53"/>
                <a:gd name="T5" fmla="*/ 3 h 3"/>
                <a:gd name="T6" fmla="*/ 32 w 53"/>
                <a:gd name="T7" fmla="*/ 3 h 3"/>
                <a:gd name="T8" fmla="*/ 39 w 53"/>
                <a:gd name="T9" fmla="*/ 3 h 3"/>
                <a:gd name="T10" fmla="*/ 45 w 53"/>
                <a:gd name="T11" fmla="*/ 1 h 3"/>
                <a:gd name="T12" fmla="*/ 53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Line 89">
              <a:extLst>
                <a:ext uri="{FF2B5EF4-FFF2-40B4-BE49-F238E27FC236}">
                  <a16:creationId xmlns="" xmlns:a16="http://schemas.microsoft.com/office/drawing/2014/main" id="{BBD4CAAD-5145-5B48-B5AC-835EE4C2993E}"/>
                </a:ext>
              </a:extLst>
            </p:cNvPr>
            <p:cNvSpPr>
              <a:spLocks noChangeShapeType="1"/>
            </p:cNvSpPr>
            <p:nvPr>
              <p:custDataLst>
                <p:tags r:id="rId69"/>
              </p:custDataLst>
            </p:nvPr>
          </p:nvSpPr>
          <p:spPr bwMode="auto">
            <a:xfrm>
              <a:off x="7802563" y="3987800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Freeform 90">
              <a:extLst>
                <a:ext uri="{FF2B5EF4-FFF2-40B4-BE49-F238E27FC236}">
                  <a16:creationId xmlns="" xmlns:a16="http://schemas.microsoft.com/office/drawing/2014/main" id="{C1B9358A-013A-804B-8343-B5FA42469B20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7823200" y="3994150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6 h 13"/>
                <a:gd name="T4" fmla="*/ 0 w 1588"/>
                <a:gd name="T5" fmla="*/ 13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91">
              <a:extLst>
                <a:ext uri="{FF2B5EF4-FFF2-40B4-BE49-F238E27FC236}">
                  <a16:creationId xmlns="" xmlns:a16="http://schemas.microsoft.com/office/drawing/2014/main" id="{3CF38206-51D1-2D44-A635-9B9EFA450590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7777163" y="3987800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15 w 26"/>
                <a:gd name="T3" fmla="*/ 0 h 58738"/>
                <a:gd name="T4" fmla="*/ 26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Freeform 92">
              <a:extLst>
                <a:ext uri="{FF2B5EF4-FFF2-40B4-BE49-F238E27FC236}">
                  <a16:creationId xmlns="" xmlns:a16="http://schemas.microsoft.com/office/drawing/2014/main" id="{24B078C8-3D9E-8F42-8646-125145C13F12}"/>
                </a:ext>
              </a:extLst>
            </p:cNvPr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7770813" y="3968750"/>
              <a:ext cx="6350" cy="60325"/>
            </a:xfrm>
            <a:custGeom>
              <a:avLst/>
              <a:gdLst>
                <a:gd name="T0" fmla="*/ 20 w 20"/>
                <a:gd name="T1" fmla="*/ 0 h 25"/>
                <a:gd name="T2" fmla="*/ 0 w 20"/>
                <a:gd name="T3" fmla="*/ 13 h 25"/>
                <a:gd name="T4" fmla="*/ 4 w 20"/>
                <a:gd name="T5" fmla="*/ 18 h 25"/>
                <a:gd name="T6" fmla="*/ 10 w 20"/>
                <a:gd name="T7" fmla="*/ 21 h 25"/>
                <a:gd name="T8" fmla="*/ 14 w 20"/>
                <a:gd name="T9" fmla="*/ 24 h 25"/>
                <a:gd name="T10" fmla="*/ 20 w 20"/>
                <a:gd name="T11" fmla="*/ 25 h 25"/>
                <a:gd name="T12" fmla="*/ 20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Freeform 93">
              <a:extLst>
                <a:ext uri="{FF2B5EF4-FFF2-40B4-BE49-F238E27FC236}">
                  <a16:creationId xmlns="" xmlns:a16="http://schemas.microsoft.com/office/drawing/2014/main" id="{B2A2559A-3E18-464A-AFE0-C4BC1D52FE12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7851775" y="3695700"/>
              <a:ext cx="1588" cy="57150"/>
            </a:xfrm>
            <a:custGeom>
              <a:avLst/>
              <a:gdLst>
                <a:gd name="T0" fmla="*/ 0 w 6"/>
                <a:gd name="T1" fmla="*/ 24 h 24"/>
                <a:gd name="T2" fmla="*/ 0 w 6"/>
                <a:gd name="T3" fmla="*/ 0 h 24"/>
                <a:gd name="T4" fmla="*/ 6 w 6"/>
                <a:gd name="T5" fmla="*/ 12 h 24"/>
                <a:gd name="T6" fmla="*/ 0 w 6"/>
                <a:gd name="T7" fmla="*/ 24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15" name="Group 94">
              <a:extLst>
                <a:ext uri="{FF2B5EF4-FFF2-40B4-BE49-F238E27FC236}">
                  <a16:creationId xmlns="" xmlns:a16="http://schemas.microsoft.com/office/drawing/2014/main" id="{CA82CD1A-D686-064F-8468-D525193E66D8}"/>
                </a:ext>
              </a:extLst>
            </p:cNvPr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7726363" y="3367088"/>
              <a:ext cx="163512" cy="114300"/>
              <a:chOff x="5379" y="2466"/>
              <a:chExt cx="122" cy="71"/>
            </a:xfrm>
          </p:grpSpPr>
          <p:sp>
            <p:nvSpPr>
              <p:cNvPr id="116" name="Freeform 95">
                <a:extLst>
                  <a:ext uri="{FF2B5EF4-FFF2-40B4-BE49-F238E27FC236}">
                    <a16:creationId xmlns="" xmlns:a16="http://schemas.microsoft.com/office/drawing/2014/main" id="{90C20F0D-DB6B-6542-961B-26620CD6E8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19 w 19"/>
                  <a:gd name="T1" fmla="*/ 25 h 25"/>
                  <a:gd name="T2" fmla="*/ 18 w 19"/>
                  <a:gd name="T3" fmla="*/ 20 h 25"/>
                  <a:gd name="T4" fmla="*/ 17 w 19"/>
                  <a:gd name="T5" fmla="*/ 12 h 25"/>
                  <a:gd name="T6" fmla="*/ 16 w 19"/>
                  <a:gd name="T7" fmla="*/ 9 h 25"/>
                  <a:gd name="T8" fmla="*/ 17 w 19"/>
                  <a:gd name="T9" fmla="*/ 6 h 25"/>
                  <a:gd name="T10" fmla="*/ 17 w 19"/>
                  <a:gd name="T11" fmla="*/ 3 h 25"/>
                  <a:gd name="T12" fmla="*/ 19 w 19"/>
                  <a:gd name="T13" fmla="*/ 0 h 25"/>
                  <a:gd name="T14" fmla="*/ 0 w 19"/>
                  <a:gd name="T15" fmla="*/ 0 h 25"/>
                  <a:gd name="T16" fmla="*/ 1 w 19"/>
                  <a:gd name="T17" fmla="*/ 7 h 25"/>
                  <a:gd name="T18" fmla="*/ 5 w 19"/>
                  <a:gd name="T19" fmla="*/ 15 h 25"/>
                  <a:gd name="T20" fmla="*/ 7 w 19"/>
                  <a:gd name="T21" fmla="*/ 19 h 25"/>
                  <a:gd name="T22" fmla="*/ 11 w 19"/>
                  <a:gd name="T23" fmla="*/ 23 h 25"/>
                  <a:gd name="T24" fmla="*/ 15 w 19"/>
                  <a:gd name="T25" fmla="*/ 25 h 25"/>
                  <a:gd name="T26" fmla="*/ 19 w 19"/>
                  <a:gd name="T27" fmla="*/ 25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7" name="Freeform 96">
                <a:extLst>
                  <a:ext uri="{FF2B5EF4-FFF2-40B4-BE49-F238E27FC236}">
                    <a16:creationId xmlns="" xmlns:a16="http://schemas.microsoft.com/office/drawing/2014/main" id="{4CC2ED1B-A9EB-E246-8CFC-3D010B58B5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26 w 26"/>
                  <a:gd name="T1" fmla="*/ 18 h 18"/>
                  <a:gd name="T2" fmla="*/ 7 w 26"/>
                  <a:gd name="T3" fmla="*/ 18 h 18"/>
                  <a:gd name="T4" fmla="*/ 3 w 26"/>
                  <a:gd name="T5" fmla="*/ 9 h 18"/>
                  <a:gd name="T6" fmla="*/ 0 w 26"/>
                  <a:gd name="T7" fmla="*/ 0 h 18"/>
                  <a:gd name="T8" fmla="*/ 6 w 26"/>
                  <a:gd name="T9" fmla="*/ 2 h 18"/>
                  <a:gd name="T10" fmla="*/ 13 w 26"/>
                  <a:gd name="T11" fmla="*/ 6 h 18"/>
                  <a:gd name="T12" fmla="*/ 20 w 26"/>
                  <a:gd name="T13" fmla="*/ 12 h 18"/>
                  <a:gd name="T14" fmla="*/ 26 w 26"/>
                  <a:gd name="T15" fmla="*/ 18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8" name="Freeform 97">
                <a:extLst>
                  <a:ext uri="{FF2B5EF4-FFF2-40B4-BE49-F238E27FC236}">
                    <a16:creationId xmlns="" xmlns:a16="http://schemas.microsoft.com/office/drawing/2014/main" id="{B1BAB4F4-E735-F242-A47C-21156B41B5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18 h 18"/>
                  <a:gd name="T2" fmla="*/ 13 w 13"/>
                  <a:gd name="T3" fmla="*/ 0 h 18"/>
                  <a:gd name="T4" fmla="*/ 0 w 13"/>
                  <a:gd name="T5" fmla="*/ 18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9" name="Freeform 98">
                <a:extLst>
                  <a:ext uri="{FF2B5EF4-FFF2-40B4-BE49-F238E27FC236}">
                    <a16:creationId xmlns="" xmlns:a16="http://schemas.microsoft.com/office/drawing/2014/main" id="{17E80637-ADD9-B849-AB48-2AAD708148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24 h 24"/>
                  <a:gd name="T2" fmla="*/ 3 w 26"/>
                  <a:gd name="T3" fmla="*/ 23 h 24"/>
                  <a:gd name="T4" fmla="*/ 7 w 26"/>
                  <a:gd name="T5" fmla="*/ 22 h 24"/>
                  <a:gd name="T6" fmla="*/ 11 w 26"/>
                  <a:gd name="T7" fmla="*/ 19 h 24"/>
                  <a:gd name="T8" fmla="*/ 16 w 26"/>
                  <a:gd name="T9" fmla="*/ 16 h 24"/>
                  <a:gd name="T10" fmla="*/ 20 w 26"/>
                  <a:gd name="T11" fmla="*/ 13 h 24"/>
                  <a:gd name="T12" fmla="*/ 23 w 26"/>
                  <a:gd name="T13" fmla="*/ 9 h 24"/>
                  <a:gd name="T14" fmla="*/ 25 w 26"/>
                  <a:gd name="T15" fmla="*/ 4 h 24"/>
                  <a:gd name="T16" fmla="*/ 26 w 26"/>
                  <a:gd name="T17" fmla="*/ 0 h 24"/>
                  <a:gd name="T18" fmla="*/ 0 w 26"/>
                  <a:gd name="T19" fmla="*/ 24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0" name="Freeform 99">
                <a:extLst>
                  <a:ext uri="{FF2B5EF4-FFF2-40B4-BE49-F238E27FC236}">
                    <a16:creationId xmlns="" xmlns:a16="http://schemas.microsoft.com/office/drawing/2014/main" id="{724D0C47-7634-2F4B-A7EA-7FF4C805CE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6 h 6"/>
                  <a:gd name="T2" fmla="*/ 10 w 34"/>
                  <a:gd name="T3" fmla="*/ 6 h 6"/>
                  <a:gd name="T4" fmla="*/ 17 w 34"/>
                  <a:gd name="T5" fmla="*/ 5 h 6"/>
                  <a:gd name="T6" fmla="*/ 25 w 34"/>
                  <a:gd name="T7" fmla="*/ 4 h 6"/>
                  <a:gd name="T8" fmla="*/ 34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1" name="Line 100">
                <a:extLst>
                  <a:ext uri="{FF2B5EF4-FFF2-40B4-BE49-F238E27FC236}">
                    <a16:creationId xmlns="" xmlns:a16="http://schemas.microsoft.com/office/drawing/2014/main" id="{05FBD7FA-D061-BB41-97EF-C250FB72677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2" name="Freeform 101">
                <a:extLst>
                  <a:ext uri="{FF2B5EF4-FFF2-40B4-BE49-F238E27FC236}">
                    <a16:creationId xmlns="" xmlns:a16="http://schemas.microsoft.com/office/drawing/2014/main" id="{B8B46859-4F8C-2249-8E30-AB3E91FBE0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19 h 19"/>
                  <a:gd name="T2" fmla="*/ 0 w 1"/>
                  <a:gd name="T3" fmla="*/ 9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3" name="Line 102">
                <a:extLst>
                  <a:ext uri="{FF2B5EF4-FFF2-40B4-BE49-F238E27FC236}">
                    <a16:creationId xmlns="" xmlns:a16="http://schemas.microsoft.com/office/drawing/2014/main" id="{7F8F859A-0801-254B-BCB5-C4974D20542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4" name="Freeform 103">
                <a:extLst>
                  <a:ext uri="{FF2B5EF4-FFF2-40B4-BE49-F238E27FC236}">
                    <a16:creationId xmlns="" xmlns:a16="http://schemas.microsoft.com/office/drawing/2014/main" id="{4A423848-A3AD-AD4F-8181-5A11CE3B2D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14 w 14"/>
                  <a:gd name="T1" fmla="*/ 0 h 6"/>
                  <a:gd name="T2" fmla="*/ 7 w 14"/>
                  <a:gd name="T3" fmla="*/ 3 h 6"/>
                  <a:gd name="T4" fmla="*/ 0 w 14"/>
                  <a:gd name="T5" fmla="*/ 6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25" name="Freeform 104">
              <a:extLst>
                <a:ext uri="{FF2B5EF4-FFF2-40B4-BE49-F238E27FC236}">
                  <a16:creationId xmlns="" xmlns:a16="http://schemas.microsoft.com/office/drawing/2014/main" id="{EC74DC66-79D6-3C4E-AA30-CDDA5DDCC432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310313" y="3228975"/>
              <a:ext cx="6350" cy="57150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105">
              <a:extLst>
                <a:ext uri="{FF2B5EF4-FFF2-40B4-BE49-F238E27FC236}">
                  <a16:creationId xmlns="" xmlns:a16="http://schemas.microsoft.com/office/drawing/2014/main" id="{D56891E9-4299-4144-84E9-C6D8E4404A02}"/>
                </a:ext>
              </a:extLst>
            </p:cNvPr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3209925" y="5368925"/>
              <a:ext cx="53975" cy="58738"/>
            </a:xfrm>
            <a:custGeom>
              <a:avLst/>
              <a:gdLst>
                <a:gd name="T0" fmla="*/ 0 w 126"/>
                <a:gd name="T1" fmla="*/ 19 h 62"/>
                <a:gd name="T2" fmla="*/ 11 w 126"/>
                <a:gd name="T3" fmla="*/ 20 h 62"/>
                <a:gd name="T4" fmla="*/ 21 w 126"/>
                <a:gd name="T5" fmla="*/ 21 h 62"/>
                <a:gd name="T6" fmla="*/ 29 w 126"/>
                <a:gd name="T7" fmla="*/ 23 h 62"/>
                <a:gd name="T8" fmla="*/ 36 w 126"/>
                <a:gd name="T9" fmla="*/ 26 h 62"/>
                <a:gd name="T10" fmla="*/ 50 w 126"/>
                <a:gd name="T11" fmla="*/ 33 h 62"/>
                <a:gd name="T12" fmla="*/ 61 w 126"/>
                <a:gd name="T13" fmla="*/ 40 h 62"/>
                <a:gd name="T14" fmla="*/ 70 w 126"/>
                <a:gd name="T15" fmla="*/ 48 h 62"/>
                <a:gd name="T16" fmla="*/ 79 w 126"/>
                <a:gd name="T17" fmla="*/ 55 h 62"/>
                <a:gd name="T18" fmla="*/ 84 w 126"/>
                <a:gd name="T19" fmla="*/ 58 h 62"/>
                <a:gd name="T20" fmla="*/ 89 w 126"/>
                <a:gd name="T21" fmla="*/ 60 h 62"/>
                <a:gd name="T22" fmla="*/ 95 w 126"/>
                <a:gd name="T23" fmla="*/ 61 h 62"/>
                <a:gd name="T24" fmla="*/ 100 w 126"/>
                <a:gd name="T25" fmla="*/ 62 h 62"/>
                <a:gd name="T26" fmla="*/ 105 w 126"/>
                <a:gd name="T27" fmla="*/ 61 h 62"/>
                <a:gd name="T28" fmla="*/ 109 w 126"/>
                <a:gd name="T29" fmla="*/ 60 h 62"/>
                <a:gd name="T30" fmla="*/ 113 w 126"/>
                <a:gd name="T31" fmla="*/ 58 h 62"/>
                <a:gd name="T32" fmla="*/ 117 w 126"/>
                <a:gd name="T33" fmla="*/ 56 h 62"/>
                <a:gd name="T34" fmla="*/ 122 w 126"/>
                <a:gd name="T35" fmla="*/ 51 h 62"/>
                <a:gd name="T36" fmla="*/ 126 w 126"/>
                <a:gd name="T37" fmla="*/ 49 h 62"/>
                <a:gd name="T38" fmla="*/ 110 w 126"/>
                <a:gd name="T39" fmla="*/ 33 h 62"/>
                <a:gd name="T40" fmla="*/ 96 w 126"/>
                <a:gd name="T41" fmla="*/ 21 h 62"/>
                <a:gd name="T42" fmla="*/ 89 w 126"/>
                <a:gd name="T43" fmla="*/ 15 h 62"/>
                <a:gd name="T44" fmla="*/ 81 w 126"/>
                <a:gd name="T45" fmla="*/ 9 h 62"/>
                <a:gd name="T46" fmla="*/ 72 w 126"/>
                <a:gd name="T47" fmla="*/ 5 h 62"/>
                <a:gd name="T48" fmla="*/ 61 w 126"/>
                <a:gd name="T49" fmla="*/ 0 h 62"/>
                <a:gd name="T50" fmla="*/ 0 w 126"/>
                <a:gd name="T51" fmla="*/ 0 h 62"/>
                <a:gd name="T52" fmla="*/ 0 w 126"/>
                <a:gd name="T53" fmla="*/ 9 h 62"/>
                <a:gd name="T54" fmla="*/ 0 w 126"/>
                <a:gd name="T55" fmla="*/ 19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06">
              <a:extLst>
                <a:ext uri="{FF2B5EF4-FFF2-40B4-BE49-F238E27FC236}">
                  <a16:creationId xmlns="" xmlns:a16="http://schemas.microsoft.com/office/drawing/2014/main" id="{CE99B1FC-C0D9-7143-ACDA-2B6D95AD32E4}"/>
                </a:ext>
              </a:extLst>
            </p:cNvPr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5511800" y="5207000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13 w 66"/>
                <a:gd name="T3" fmla="*/ 1 h 44"/>
                <a:gd name="T4" fmla="*/ 23 w 66"/>
                <a:gd name="T5" fmla="*/ 2 h 44"/>
                <a:gd name="T6" fmla="*/ 32 w 66"/>
                <a:gd name="T7" fmla="*/ 4 h 44"/>
                <a:gd name="T8" fmla="*/ 38 w 66"/>
                <a:gd name="T9" fmla="*/ 7 h 44"/>
                <a:gd name="T10" fmla="*/ 44 w 66"/>
                <a:gd name="T11" fmla="*/ 9 h 44"/>
                <a:gd name="T12" fmla="*/ 50 w 66"/>
                <a:gd name="T13" fmla="*/ 11 h 44"/>
                <a:gd name="T14" fmla="*/ 57 w 66"/>
                <a:gd name="T15" fmla="*/ 12 h 44"/>
                <a:gd name="T16" fmla="*/ 66 w 66"/>
                <a:gd name="T17" fmla="*/ 13 h 44"/>
                <a:gd name="T18" fmla="*/ 65 w 66"/>
                <a:gd name="T19" fmla="*/ 17 h 44"/>
                <a:gd name="T20" fmla="*/ 62 w 66"/>
                <a:gd name="T21" fmla="*/ 21 h 44"/>
                <a:gd name="T22" fmla="*/ 60 w 66"/>
                <a:gd name="T23" fmla="*/ 25 h 44"/>
                <a:gd name="T24" fmla="*/ 57 w 66"/>
                <a:gd name="T25" fmla="*/ 28 h 44"/>
                <a:gd name="T26" fmla="*/ 49 w 66"/>
                <a:gd name="T27" fmla="*/ 34 h 44"/>
                <a:gd name="T28" fmla="*/ 40 w 66"/>
                <a:gd name="T29" fmla="*/ 39 h 44"/>
                <a:gd name="T30" fmla="*/ 31 w 66"/>
                <a:gd name="T31" fmla="*/ 42 h 44"/>
                <a:gd name="T32" fmla="*/ 21 w 66"/>
                <a:gd name="T33" fmla="*/ 44 h 44"/>
                <a:gd name="T34" fmla="*/ 10 w 66"/>
                <a:gd name="T35" fmla="*/ 44 h 44"/>
                <a:gd name="T36" fmla="*/ 0 w 66"/>
                <a:gd name="T37" fmla="*/ 43 h 44"/>
                <a:gd name="T38" fmla="*/ 0 w 66"/>
                <a:gd name="T39" fmla="*/ 31 h 44"/>
                <a:gd name="T40" fmla="*/ 0 w 66"/>
                <a:gd name="T41" fmla="*/ 22 h 44"/>
                <a:gd name="T42" fmla="*/ 0 w 66"/>
                <a:gd name="T43" fmla="*/ 12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07">
              <a:extLst>
                <a:ext uri="{FF2B5EF4-FFF2-40B4-BE49-F238E27FC236}">
                  <a16:creationId xmlns="" xmlns:a16="http://schemas.microsoft.com/office/drawing/2014/main" id="{6D8D135B-5C9B-BC45-BF2C-53F6B313DCFA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7666038" y="1978025"/>
              <a:ext cx="20637" cy="57150"/>
            </a:xfrm>
            <a:custGeom>
              <a:avLst/>
              <a:gdLst>
                <a:gd name="T0" fmla="*/ 46 w 46"/>
                <a:gd name="T1" fmla="*/ 0 h 16"/>
                <a:gd name="T2" fmla="*/ 40 w 46"/>
                <a:gd name="T3" fmla="*/ 7 h 16"/>
                <a:gd name="T4" fmla="*/ 35 w 46"/>
                <a:gd name="T5" fmla="*/ 13 h 16"/>
                <a:gd name="T6" fmla="*/ 31 w 46"/>
                <a:gd name="T7" fmla="*/ 14 h 16"/>
                <a:gd name="T8" fmla="*/ 29 w 46"/>
                <a:gd name="T9" fmla="*/ 15 h 16"/>
                <a:gd name="T10" fmla="*/ 26 w 46"/>
                <a:gd name="T11" fmla="*/ 16 h 16"/>
                <a:gd name="T12" fmla="*/ 23 w 46"/>
                <a:gd name="T13" fmla="*/ 16 h 16"/>
                <a:gd name="T14" fmla="*/ 16 w 46"/>
                <a:gd name="T15" fmla="*/ 14 h 16"/>
                <a:gd name="T16" fmla="*/ 11 w 46"/>
                <a:gd name="T17" fmla="*/ 11 h 16"/>
                <a:gd name="T18" fmla="*/ 5 w 46"/>
                <a:gd name="T19" fmla="*/ 6 h 16"/>
                <a:gd name="T20" fmla="*/ 0 w 46"/>
                <a:gd name="T21" fmla="*/ 0 h 16"/>
                <a:gd name="T22" fmla="*/ 46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08">
              <a:extLst>
                <a:ext uri="{FF2B5EF4-FFF2-40B4-BE49-F238E27FC236}">
                  <a16:creationId xmlns="" xmlns:a16="http://schemas.microsoft.com/office/drawing/2014/main" id="{3D1CB6E0-227B-E441-B2ED-7DE877C3DD8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7842250" y="2011363"/>
              <a:ext cx="15875" cy="57150"/>
            </a:xfrm>
            <a:custGeom>
              <a:avLst/>
              <a:gdLst>
                <a:gd name="T0" fmla="*/ 39 w 39"/>
                <a:gd name="T1" fmla="*/ 25 h 26"/>
                <a:gd name="T2" fmla="*/ 36 w 39"/>
                <a:gd name="T3" fmla="*/ 26 h 26"/>
                <a:gd name="T4" fmla="*/ 32 w 39"/>
                <a:gd name="T5" fmla="*/ 26 h 26"/>
                <a:gd name="T6" fmla="*/ 28 w 39"/>
                <a:gd name="T7" fmla="*/ 26 h 26"/>
                <a:gd name="T8" fmla="*/ 25 w 39"/>
                <a:gd name="T9" fmla="*/ 25 h 26"/>
                <a:gd name="T10" fmla="*/ 18 w 39"/>
                <a:gd name="T11" fmla="*/ 22 h 26"/>
                <a:gd name="T12" fmla="*/ 12 w 39"/>
                <a:gd name="T13" fmla="*/ 18 h 26"/>
                <a:gd name="T14" fmla="*/ 7 w 39"/>
                <a:gd name="T15" fmla="*/ 13 h 26"/>
                <a:gd name="T16" fmla="*/ 3 w 39"/>
                <a:gd name="T17" fmla="*/ 7 h 26"/>
                <a:gd name="T18" fmla="*/ 1 w 39"/>
                <a:gd name="T19" fmla="*/ 3 h 26"/>
                <a:gd name="T20" fmla="*/ 0 w 39"/>
                <a:gd name="T21" fmla="*/ 0 h 26"/>
                <a:gd name="T22" fmla="*/ 11 w 39"/>
                <a:gd name="T23" fmla="*/ 6 h 26"/>
                <a:gd name="T24" fmla="*/ 22 w 39"/>
                <a:gd name="T25" fmla="*/ 13 h 26"/>
                <a:gd name="T26" fmla="*/ 33 w 39"/>
                <a:gd name="T27" fmla="*/ 20 h 26"/>
                <a:gd name="T28" fmla="*/ 39 w 39"/>
                <a:gd name="T29" fmla="*/ 25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09">
              <a:extLst>
                <a:ext uri="{FF2B5EF4-FFF2-40B4-BE49-F238E27FC236}">
                  <a16:creationId xmlns="" xmlns:a16="http://schemas.microsoft.com/office/drawing/2014/main" id="{C5972702-0EFA-384E-B711-D773F1228386}"/>
                </a:ext>
              </a:extLst>
            </p:cNvPr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7291388" y="2241550"/>
              <a:ext cx="4762" cy="58738"/>
            </a:xfrm>
            <a:custGeom>
              <a:avLst/>
              <a:gdLst>
                <a:gd name="T0" fmla="*/ 11 w 11"/>
                <a:gd name="T1" fmla="*/ 0 h 25"/>
                <a:gd name="T2" fmla="*/ 11 w 11"/>
                <a:gd name="T3" fmla="*/ 5 h 25"/>
                <a:gd name="T4" fmla="*/ 10 w 11"/>
                <a:gd name="T5" fmla="*/ 12 h 25"/>
                <a:gd name="T6" fmla="*/ 9 w 11"/>
                <a:gd name="T7" fmla="*/ 20 h 25"/>
                <a:gd name="T8" fmla="*/ 4 w 11"/>
                <a:gd name="T9" fmla="*/ 25 h 25"/>
                <a:gd name="T10" fmla="*/ 2 w 11"/>
                <a:gd name="T11" fmla="*/ 23 h 25"/>
                <a:gd name="T12" fmla="*/ 1 w 11"/>
                <a:gd name="T13" fmla="*/ 20 h 25"/>
                <a:gd name="T14" fmla="*/ 0 w 11"/>
                <a:gd name="T15" fmla="*/ 15 h 25"/>
                <a:gd name="T16" fmla="*/ 0 w 11"/>
                <a:gd name="T17" fmla="*/ 12 h 25"/>
                <a:gd name="T18" fmla="*/ 1 w 11"/>
                <a:gd name="T19" fmla="*/ 9 h 25"/>
                <a:gd name="T20" fmla="*/ 3 w 11"/>
                <a:gd name="T21" fmla="*/ 5 h 25"/>
                <a:gd name="T22" fmla="*/ 6 w 11"/>
                <a:gd name="T23" fmla="*/ 2 h 25"/>
                <a:gd name="T24" fmla="*/ 11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10">
              <a:extLst>
                <a:ext uri="{FF2B5EF4-FFF2-40B4-BE49-F238E27FC236}">
                  <a16:creationId xmlns="" xmlns:a16="http://schemas.microsoft.com/office/drawing/2014/main" id="{5CF10624-D655-824E-AAEE-981200977595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7105650" y="2803525"/>
              <a:ext cx="14288" cy="58738"/>
            </a:xfrm>
            <a:custGeom>
              <a:avLst/>
              <a:gdLst>
                <a:gd name="T0" fmla="*/ 20 w 20"/>
                <a:gd name="T1" fmla="*/ 0 h 31"/>
                <a:gd name="T2" fmla="*/ 16 w 20"/>
                <a:gd name="T3" fmla="*/ 12 h 31"/>
                <a:gd name="T4" fmla="*/ 10 w 20"/>
                <a:gd name="T5" fmla="*/ 20 h 31"/>
                <a:gd name="T6" fmla="*/ 5 w 20"/>
                <a:gd name="T7" fmla="*/ 26 h 31"/>
                <a:gd name="T8" fmla="*/ 0 w 20"/>
                <a:gd name="T9" fmla="*/ 31 h 31"/>
                <a:gd name="T10" fmla="*/ 0 w 20"/>
                <a:gd name="T11" fmla="*/ 25 h 31"/>
                <a:gd name="T12" fmla="*/ 1 w 20"/>
                <a:gd name="T13" fmla="*/ 19 h 31"/>
                <a:gd name="T14" fmla="*/ 2 w 20"/>
                <a:gd name="T15" fmla="*/ 13 h 31"/>
                <a:gd name="T16" fmla="*/ 5 w 20"/>
                <a:gd name="T17" fmla="*/ 9 h 31"/>
                <a:gd name="T18" fmla="*/ 8 w 20"/>
                <a:gd name="T19" fmla="*/ 6 h 31"/>
                <a:gd name="T20" fmla="*/ 11 w 20"/>
                <a:gd name="T21" fmla="*/ 3 h 31"/>
                <a:gd name="T22" fmla="*/ 16 w 20"/>
                <a:gd name="T23" fmla="*/ 0 h 31"/>
                <a:gd name="T24" fmla="*/ 20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11">
              <a:extLst>
                <a:ext uri="{FF2B5EF4-FFF2-40B4-BE49-F238E27FC236}">
                  <a16:creationId xmlns="" xmlns:a16="http://schemas.microsoft.com/office/drawing/2014/main" id="{E1881A27-F201-9643-A6CE-DE7138D131C9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7123113" y="2738438"/>
              <a:ext cx="15875" cy="57150"/>
            </a:xfrm>
            <a:custGeom>
              <a:avLst/>
              <a:gdLst>
                <a:gd name="T0" fmla="*/ 13 w 26"/>
                <a:gd name="T1" fmla="*/ 37 h 37"/>
                <a:gd name="T2" fmla="*/ 0 w 26"/>
                <a:gd name="T3" fmla="*/ 12 h 37"/>
                <a:gd name="T4" fmla="*/ 6 w 26"/>
                <a:gd name="T5" fmla="*/ 7 h 37"/>
                <a:gd name="T6" fmla="*/ 13 w 26"/>
                <a:gd name="T7" fmla="*/ 4 h 37"/>
                <a:gd name="T8" fmla="*/ 21 w 26"/>
                <a:gd name="T9" fmla="*/ 1 h 37"/>
                <a:gd name="T10" fmla="*/ 26 w 26"/>
                <a:gd name="T11" fmla="*/ 0 h 37"/>
                <a:gd name="T12" fmla="*/ 26 w 26"/>
                <a:gd name="T13" fmla="*/ 6 h 37"/>
                <a:gd name="T14" fmla="*/ 25 w 26"/>
                <a:gd name="T15" fmla="*/ 11 h 37"/>
                <a:gd name="T16" fmla="*/ 24 w 26"/>
                <a:gd name="T17" fmla="*/ 17 h 37"/>
                <a:gd name="T18" fmla="*/ 23 w 26"/>
                <a:gd name="T19" fmla="*/ 21 h 37"/>
                <a:gd name="T20" fmla="*/ 18 w 26"/>
                <a:gd name="T21" fmla="*/ 29 h 37"/>
                <a:gd name="T22" fmla="*/ 13 w 26"/>
                <a:gd name="T23" fmla="*/ 3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Freeform 112">
              <a:extLst>
                <a:ext uri="{FF2B5EF4-FFF2-40B4-BE49-F238E27FC236}">
                  <a16:creationId xmlns="" xmlns:a16="http://schemas.microsoft.com/office/drawing/2014/main" id="{2EB103A3-021E-2C49-956B-9FF44B500D27}"/>
                </a:ext>
              </a:extLst>
            </p:cNvPr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7011988" y="2587625"/>
              <a:ext cx="1587" cy="60325"/>
            </a:xfrm>
            <a:custGeom>
              <a:avLst/>
              <a:gdLst>
                <a:gd name="T0" fmla="*/ 0 w 7"/>
                <a:gd name="T1" fmla="*/ 18 h 18"/>
                <a:gd name="T2" fmla="*/ 0 w 7"/>
                <a:gd name="T3" fmla="*/ 0 h 18"/>
                <a:gd name="T4" fmla="*/ 7 w 7"/>
                <a:gd name="T5" fmla="*/ 12 h 18"/>
                <a:gd name="T6" fmla="*/ 0 w 7"/>
                <a:gd name="T7" fmla="*/ 18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Freeform 113">
              <a:extLst>
                <a:ext uri="{FF2B5EF4-FFF2-40B4-BE49-F238E27FC236}">
                  <a16:creationId xmlns="" xmlns:a16="http://schemas.microsoft.com/office/drawing/2014/main" id="{E49F28F1-44CA-CA4D-8E66-3F2DF806B4F5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3863975" y="1714500"/>
              <a:ext cx="9525" cy="57150"/>
            </a:xfrm>
            <a:custGeom>
              <a:avLst/>
              <a:gdLst>
                <a:gd name="T0" fmla="*/ 0 w 33"/>
                <a:gd name="T1" fmla="*/ 12 h 31"/>
                <a:gd name="T2" fmla="*/ 19 w 33"/>
                <a:gd name="T3" fmla="*/ 0 h 31"/>
                <a:gd name="T4" fmla="*/ 24 w 33"/>
                <a:gd name="T5" fmla="*/ 5 h 31"/>
                <a:gd name="T6" fmla="*/ 28 w 33"/>
                <a:gd name="T7" fmla="*/ 12 h 31"/>
                <a:gd name="T8" fmla="*/ 32 w 33"/>
                <a:gd name="T9" fmla="*/ 22 h 31"/>
                <a:gd name="T10" fmla="*/ 33 w 33"/>
                <a:gd name="T11" fmla="*/ 31 h 31"/>
                <a:gd name="T12" fmla="*/ 27 w 33"/>
                <a:gd name="T13" fmla="*/ 30 h 31"/>
                <a:gd name="T14" fmla="*/ 22 w 33"/>
                <a:gd name="T15" fmla="*/ 28 h 31"/>
                <a:gd name="T16" fmla="*/ 16 w 33"/>
                <a:gd name="T17" fmla="*/ 25 h 31"/>
                <a:gd name="T18" fmla="*/ 11 w 33"/>
                <a:gd name="T19" fmla="*/ 22 h 31"/>
                <a:gd name="T20" fmla="*/ 3 w 33"/>
                <a:gd name="T21" fmla="*/ 15 h 31"/>
                <a:gd name="T22" fmla="*/ 0 w 33"/>
                <a:gd name="T23" fmla="*/ 12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114">
              <a:extLst>
                <a:ext uri="{FF2B5EF4-FFF2-40B4-BE49-F238E27FC236}">
                  <a16:creationId xmlns="" xmlns:a16="http://schemas.microsoft.com/office/drawing/2014/main" id="{4D0AF066-62B1-E84F-A996-8C15A73ACCC3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3849688" y="1482725"/>
              <a:ext cx="3175" cy="57150"/>
            </a:xfrm>
            <a:custGeom>
              <a:avLst/>
              <a:gdLst>
                <a:gd name="T0" fmla="*/ 14 w 14"/>
                <a:gd name="T1" fmla="*/ 0 h 6"/>
                <a:gd name="T2" fmla="*/ 0 w 14"/>
                <a:gd name="T3" fmla="*/ 6 h 6"/>
                <a:gd name="T4" fmla="*/ 14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115">
              <a:extLst>
                <a:ext uri="{FF2B5EF4-FFF2-40B4-BE49-F238E27FC236}">
                  <a16:creationId xmlns="" xmlns:a16="http://schemas.microsoft.com/office/drawing/2014/main" id="{80BDADC1-061A-D349-B38F-AC6366F6B0E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5330825" y="3260725"/>
              <a:ext cx="25400" cy="55563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Freeform 116">
              <a:extLst>
                <a:ext uri="{FF2B5EF4-FFF2-40B4-BE49-F238E27FC236}">
                  <a16:creationId xmlns="" xmlns:a16="http://schemas.microsoft.com/office/drawing/2014/main" id="{2876621E-1F39-2D4A-8805-D729245C5C0A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5033963" y="3122613"/>
              <a:ext cx="19050" cy="58737"/>
            </a:xfrm>
            <a:custGeom>
              <a:avLst/>
              <a:gdLst>
                <a:gd name="T0" fmla="*/ 14 w 47"/>
                <a:gd name="T1" fmla="*/ 0 h 68"/>
                <a:gd name="T2" fmla="*/ 8 w 47"/>
                <a:gd name="T3" fmla="*/ 10 h 68"/>
                <a:gd name="T4" fmla="*/ 4 w 47"/>
                <a:gd name="T5" fmla="*/ 19 h 68"/>
                <a:gd name="T6" fmla="*/ 2 w 47"/>
                <a:gd name="T7" fmla="*/ 28 h 68"/>
                <a:gd name="T8" fmla="*/ 0 w 47"/>
                <a:gd name="T9" fmla="*/ 37 h 68"/>
                <a:gd name="T10" fmla="*/ 0 w 47"/>
                <a:gd name="T11" fmla="*/ 42 h 68"/>
                <a:gd name="T12" fmla="*/ 2 w 47"/>
                <a:gd name="T13" fmla="*/ 47 h 68"/>
                <a:gd name="T14" fmla="*/ 3 w 47"/>
                <a:gd name="T15" fmla="*/ 51 h 68"/>
                <a:gd name="T16" fmla="*/ 5 w 47"/>
                <a:gd name="T17" fmla="*/ 55 h 68"/>
                <a:gd name="T18" fmla="*/ 7 w 47"/>
                <a:gd name="T19" fmla="*/ 58 h 68"/>
                <a:gd name="T20" fmla="*/ 9 w 47"/>
                <a:gd name="T21" fmla="*/ 60 h 68"/>
                <a:gd name="T22" fmla="*/ 13 w 47"/>
                <a:gd name="T23" fmla="*/ 62 h 68"/>
                <a:gd name="T24" fmla="*/ 16 w 47"/>
                <a:gd name="T25" fmla="*/ 64 h 68"/>
                <a:gd name="T26" fmla="*/ 22 w 47"/>
                <a:gd name="T27" fmla="*/ 67 h 68"/>
                <a:gd name="T28" fmla="*/ 31 w 47"/>
                <a:gd name="T29" fmla="*/ 68 h 68"/>
                <a:gd name="T30" fmla="*/ 39 w 47"/>
                <a:gd name="T31" fmla="*/ 68 h 68"/>
                <a:gd name="T32" fmla="*/ 47 w 47"/>
                <a:gd name="T33" fmla="*/ 68 h 68"/>
                <a:gd name="T34" fmla="*/ 41 w 47"/>
                <a:gd name="T35" fmla="*/ 58 h 68"/>
                <a:gd name="T36" fmla="*/ 38 w 47"/>
                <a:gd name="T37" fmla="*/ 48 h 68"/>
                <a:gd name="T38" fmla="*/ 36 w 47"/>
                <a:gd name="T39" fmla="*/ 43 h 68"/>
                <a:gd name="T40" fmla="*/ 35 w 47"/>
                <a:gd name="T41" fmla="*/ 38 h 68"/>
                <a:gd name="T42" fmla="*/ 33 w 47"/>
                <a:gd name="T43" fmla="*/ 31 h 68"/>
                <a:gd name="T44" fmla="*/ 33 w 47"/>
                <a:gd name="T45" fmla="*/ 25 h 68"/>
                <a:gd name="T46" fmla="*/ 24 w 47"/>
                <a:gd name="T47" fmla="*/ 13 h 68"/>
                <a:gd name="T48" fmla="*/ 14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8" name="Group 117">
              <a:extLst>
                <a:ext uri="{FF2B5EF4-FFF2-40B4-BE49-F238E27FC236}">
                  <a16:creationId xmlns="" xmlns:a16="http://schemas.microsoft.com/office/drawing/2014/main" id="{729253CE-AEE0-7341-8241-D192EDB011BC}"/>
                </a:ext>
              </a:extLst>
            </p:cNvPr>
            <p:cNvGrpSpPr>
              <a:grpSpLocks/>
            </p:cNvGrpSpPr>
            <p:nvPr>
              <p:custDataLst>
                <p:tags r:id="rId88"/>
              </p:custDataLst>
            </p:nvPr>
          </p:nvGrpSpPr>
          <p:grpSpPr bwMode="auto">
            <a:xfrm>
              <a:off x="5805488" y="3309938"/>
              <a:ext cx="46037" cy="374650"/>
              <a:chOff x="3950" y="2430"/>
              <a:chExt cx="36" cy="234"/>
            </a:xfrm>
          </p:grpSpPr>
          <p:sp>
            <p:nvSpPr>
              <p:cNvPr id="139" name="Freeform 118">
                <a:extLst>
                  <a:ext uri="{FF2B5EF4-FFF2-40B4-BE49-F238E27FC236}">
                    <a16:creationId xmlns="" xmlns:a16="http://schemas.microsoft.com/office/drawing/2014/main" id="{39B94EDA-C255-B849-9A38-4938368B86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0" name="Freeform 119">
                <a:extLst>
                  <a:ext uri="{FF2B5EF4-FFF2-40B4-BE49-F238E27FC236}">
                    <a16:creationId xmlns="" xmlns:a16="http://schemas.microsoft.com/office/drawing/2014/main" id="{00AAA844-1948-AF42-815A-8001211FF6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1" name="Freeform 120">
                <a:extLst>
                  <a:ext uri="{FF2B5EF4-FFF2-40B4-BE49-F238E27FC236}">
                    <a16:creationId xmlns="" xmlns:a16="http://schemas.microsoft.com/office/drawing/2014/main" id="{0D12FB0D-F03E-D945-BC94-92CC5E5BE35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10 w 19"/>
                  <a:gd name="T3" fmla="*/ 0 h 1"/>
                  <a:gd name="T4" fmla="*/ 19 w 19"/>
                  <a:gd name="T5" fmla="*/ 0 h 1"/>
                  <a:gd name="T6" fmla="*/ 1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2" name="Rectangle 121">
                <a:extLst>
                  <a:ext uri="{FF2B5EF4-FFF2-40B4-BE49-F238E27FC236}">
                    <a16:creationId xmlns="" xmlns:a16="http://schemas.microsoft.com/office/drawing/2014/main" id="{65C72014-AF70-0849-99FD-E9283B27BF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43" name="Line 122">
                <a:extLst>
                  <a:ext uri="{FF2B5EF4-FFF2-40B4-BE49-F238E27FC236}">
                    <a16:creationId xmlns="" xmlns:a16="http://schemas.microsoft.com/office/drawing/2014/main" id="{3987E76D-F525-6043-AFDD-2BCF60266F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4" name="Freeform 123">
                <a:extLst>
                  <a:ext uri="{FF2B5EF4-FFF2-40B4-BE49-F238E27FC236}">
                    <a16:creationId xmlns="" xmlns:a16="http://schemas.microsoft.com/office/drawing/2014/main" id="{081C02FE-3F97-9943-B970-9B5D03C01A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5" name="Freeform 124">
                <a:extLst>
                  <a:ext uri="{FF2B5EF4-FFF2-40B4-BE49-F238E27FC236}">
                    <a16:creationId xmlns="" xmlns:a16="http://schemas.microsoft.com/office/drawing/2014/main" id="{A7A2ACA5-2BC5-814C-8A6D-2DCA8DAC9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6" name="Line 125">
                <a:extLst>
                  <a:ext uri="{FF2B5EF4-FFF2-40B4-BE49-F238E27FC236}">
                    <a16:creationId xmlns="" xmlns:a16="http://schemas.microsoft.com/office/drawing/2014/main" id="{9B1013B9-9BEE-FE4A-A88C-FB58900708F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7" name="Freeform 126">
                <a:extLst>
                  <a:ext uri="{FF2B5EF4-FFF2-40B4-BE49-F238E27FC236}">
                    <a16:creationId xmlns="" xmlns:a16="http://schemas.microsoft.com/office/drawing/2014/main" id="{6A2B349F-FA00-E741-BBBA-01E37EA5E0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8" name="Freeform 127">
                <a:extLst>
                  <a:ext uri="{FF2B5EF4-FFF2-40B4-BE49-F238E27FC236}">
                    <a16:creationId xmlns="" xmlns:a16="http://schemas.microsoft.com/office/drawing/2014/main" id="{A943ADF8-382A-C548-9BE2-121719B35A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49" name="Line 128">
                <a:extLst>
                  <a:ext uri="{FF2B5EF4-FFF2-40B4-BE49-F238E27FC236}">
                    <a16:creationId xmlns="" xmlns:a16="http://schemas.microsoft.com/office/drawing/2014/main" id="{A9DDA3E1-EFBA-DF46-BD9C-3FEF2212F18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0" name="Freeform 129">
                <a:extLst>
                  <a:ext uri="{FF2B5EF4-FFF2-40B4-BE49-F238E27FC236}">
                    <a16:creationId xmlns="" xmlns:a16="http://schemas.microsoft.com/office/drawing/2014/main" id="{5793E62B-C9FB-F24B-9EFC-D8986C1D0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1" name="Freeform 130">
                <a:extLst>
                  <a:ext uri="{FF2B5EF4-FFF2-40B4-BE49-F238E27FC236}">
                    <a16:creationId xmlns="" xmlns:a16="http://schemas.microsoft.com/office/drawing/2014/main" id="{0333618E-5749-CD46-9C2A-2A6C151251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2" name="Freeform 131">
                <a:extLst>
                  <a:ext uri="{FF2B5EF4-FFF2-40B4-BE49-F238E27FC236}">
                    <a16:creationId xmlns="" xmlns:a16="http://schemas.microsoft.com/office/drawing/2014/main" id="{3DFBA499-F8BB-B949-90C0-B007216CB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3" name="Freeform 132">
                <a:extLst>
                  <a:ext uri="{FF2B5EF4-FFF2-40B4-BE49-F238E27FC236}">
                    <a16:creationId xmlns="" xmlns:a16="http://schemas.microsoft.com/office/drawing/2014/main" id="{EF295353-FE14-1E49-B10D-2DAFA47F0D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4" name="Freeform 133">
                <a:extLst>
                  <a:ext uri="{FF2B5EF4-FFF2-40B4-BE49-F238E27FC236}">
                    <a16:creationId xmlns="" xmlns:a16="http://schemas.microsoft.com/office/drawing/2014/main" id="{D3C2F0BB-2112-8443-97F7-29991755C5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20 h 20"/>
                  <a:gd name="T4" fmla="*/ 19 w 19"/>
                  <a:gd name="T5" fmla="*/ 14 h 20"/>
                  <a:gd name="T6" fmla="*/ 14 w 19"/>
                  <a:gd name="T7" fmla="*/ 8 h 20"/>
                  <a:gd name="T8" fmla="*/ 10 w 19"/>
                  <a:gd name="T9" fmla="*/ 4 h 20"/>
                  <a:gd name="T10" fmla="*/ 4 w 19"/>
                  <a:gd name="T11" fmla="*/ 1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5" name="Freeform 134">
                <a:extLst>
                  <a:ext uri="{FF2B5EF4-FFF2-40B4-BE49-F238E27FC236}">
                    <a16:creationId xmlns="" xmlns:a16="http://schemas.microsoft.com/office/drawing/2014/main" id="{BFE5EBCC-98F0-744E-84CB-8A126719E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13 w 19"/>
                  <a:gd name="T1" fmla="*/ 12 h 12"/>
                  <a:gd name="T2" fmla="*/ 19 w 19"/>
                  <a:gd name="T3" fmla="*/ 0 h 12"/>
                  <a:gd name="T4" fmla="*/ 0 w 19"/>
                  <a:gd name="T5" fmla="*/ 0 h 12"/>
                  <a:gd name="T6" fmla="*/ 13 w 19"/>
                  <a:gd name="T7" fmla="*/ 1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6" name="Freeform 135">
                <a:extLst>
                  <a:ext uri="{FF2B5EF4-FFF2-40B4-BE49-F238E27FC236}">
                    <a16:creationId xmlns="" xmlns:a16="http://schemas.microsoft.com/office/drawing/2014/main" id="{F4057B32-A8ED-984F-8305-736D63304C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10 w 19"/>
                  <a:gd name="T3" fmla="*/ 0 h 1"/>
                  <a:gd name="T4" fmla="*/ 19 w 19"/>
                  <a:gd name="T5" fmla="*/ 0 h 1"/>
                  <a:gd name="T6" fmla="*/ 1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7" name="Rectangle 136">
                <a:extLst>
                  <a:ext uri="{FF2B5EF4-FFF2-40B4-BE49-F238E27FC236}">
                    <a16:creationId xmlns="" xmlns:a16="http://schemas.microsoft.com/office/drawing/2014/main" id="{F0278BD6-F471-6C48-A715-F0B5E2F1A9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defTabSz="4572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en-US" altLang="en-US"/>
              </a:p>
            </p:txBody>
          </p:sp>
          <p:sp>
            <p:nvSpPr>
              <p:cNvPr id="158" name="Line 137">
                <a:extLst>
                  <a:ext uri="{FF2B5EF4-FFF2-40B4-BE49-F238E27FC236}">
                    <a16:creationId xmlns="" xmlns:a16="http://schemas.microsoft.com/office/drawing/2014/main" id="{080DA805-1166-1C44-87C1-65F050A5C3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59" name="Freeform 138">
                <a:extLst>
                  <a:ext uri="{FF2B5EF4-FFF2-40B4-BE49-F238E27FC236}">
                    <a16:creationId xmlns="" xmlns:a16="http://schemas.microsoft.com/office/drawing/2014/main" id="{E233678F-9A47-D84B-903E-925ACF828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6 w 6"/>
                  <a:gd name="T1" fmla="*/ 0 h 3"/>
                  <a:gd name="T2" fmla="*/ 5 w 6"/>
                  <a:gd name="T3" fmla="*/ 1 h 3"/>
                  <a:gd name="T4" fmla="*/ 3 w 6"/>
                  <a:gd name="T5" fmla="*/ 2 h 3"/>
                  <a:gd name="T6" fmla="*/ 1 w 6"/>
                  <a:gd name="T7" fmla="*/ 3 h 3"/>
                  <a:gd name="T8" fmla="*/ 0 w 6"/>
                  <a:gd name="T9" fmla="*/ 2 h 3"/>
                  <a:gd name="T10" fmla="*/ 0 w 6"/>
                  <a:gd name="T11" fmla="*/ 2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0" name="Freeform 139">
                <a:extLst>
                  <a:ext uri="{FF2B5EF4-FFF2-40B4-BE49-F238E27FC236}">
                    <a16:creationId xmlns="" xmlns:a16="http://schemas.microsoft.com/office/drawing/2014/main" id="{89C71111-3715-3D4F-9BE2-87940FF8F5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14 w 14"/>
                  <a:gd name="T1" fmla="*/ 0 h 24"/>
                  <a:gd name="T2" fmla="*/ 13 w 14"/>
                  <a:gd name="T3" fmla="*/ 5 h 24"/>
                  <a:gd name="T4" fmla="*/ 9 w 14"/>
                  <a:gd name="T5" fmla="*/ 12 h 24"/>
                  <a:gd name="T6" fmla="*/ 5 w 14"/>
                  <a:gd name="T7" fmla="*/ 19 h 24"/>
                  <a:gd name="T8" fmla="*/ 0 w 14"/>
                  <a:gd name="T9" fmla="*/ 24 h 24"/>
                  <a:gd name="T10" fmla="*/ 0 w 14"/>
                  <a:gd name="T11" fmla="*/ 16 h 24"/>
                  <a:gd name="T12" fmla="*/ 0 w 14"/>
                  <a:gd name="T13" fmla="*/ 12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1" name="Line 140">
                <a:extLst>
                  <a:ext uri="{FF2B5EF4-FFF2-40B4-BE49-F238E27FC236}">
                    <a16:creationId xmlns="" xmlns:a16="http://schemas.microsoft.com/office/drawing/2014/main" id="{3F00788A-98B0-B34F-B53D-B565C5BAD03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2" name="Freeform 141">
                <a:extLst>
                  <a:ext uri="{FF2B5EF4-FFF2-40B4-BE49-F238E27FC236}">
                    <a16:creationId xmlns="" xmlns:a16="http://schemas.microsoft.com/office/drawing/2014/main" id="{1F72B85B-6327-D240-B9F6-B031F059F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13 w 13"/>
                  <a:gd name="T1" fmla="*/ 12 h 12"/>
                  <a:gd name="T2" fmla="*/ 0 w 13"/>
                  <a:gd name="T3" fmla="*/ 0 h 12"/>
                  <a:gd name="T4" fmla="*/ 13 w 13"/>
                  <a:gd name="T5" fmla="*/ 12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3" name="Freeform 142">
                <a:extLst>
                  <a:ext uri="{FF2B5EF4-FFF2-40B4-BE49-F238E27FC236}">
                    <a16:creationId xmlns="" xmlns:a16="http://schemas.microsoft.com/office/drawing/2014/main" id="{E48FAFDB-6876-EB43-8E69-F67ACA1E4A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19 h 19"/>
                  <a:gd name="T4" fmla="*/ 0 w 7"/>
                  <a:gd name="T5" fmla="*/ 0 h 19"/>
                  <a:gd name="T6" fmla="*/ 7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" name="Line 143">
                <a:extLst>
                  <a:ext uri="{FF2B5EF4-FFF2-40B4-BE49-F238E27FC236}">
                    <a16:creationId xmlns="" xmlns:a16="http://schemas.microsoft.com/office/drawing/2014/main" id="{A6156C97-6B04-FF4D-A9CF-DAB26114F0D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" name="Freeform 144">
                <a:extLst>
                  <a:ext uri="{FF2B5EF4-FFF2-40B4-BE49-F238E27FC236}">
                    <a16:creationId xmlns="" xmlns:a16="http://schemas.microsoft.com/office/drawing/2014/main" id="{F3703B93-C64B-4441-B733-48DA626942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18 h 18"/>
                  <a:gd name="T2" fmla="*/ 8 w 8"/>
                  <a:gd name="T3" fmla="*/ 6 h 18"/>
                  <a:gd name="T4" fmla="*/ 0 w 8"/>
                  <a:gd name="T5" fmla="*/ 0 h 18"/>
                  <a:gd name="T6" fmla="*/ 0 w 8"/>
                  <a:gd name="T7" fmla="*/ 18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6" name="Freeform 145">
                <a:extLst>
                  <a:ext uri="{FF2B5EF4-FFF2-40B4-BE49-F238E27FC236}">
                    <a16:creationId xmlns="" xmlns:a16="http://schemas.microsoft.com/office/drawing/2014/main" id="{CF766A8F-C329-F249-89A5-8954268110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19 h 19"/>
                  <a:gd name="T4" fmla="*/ 6 w 6"/>
                  <a:gd name="T5" fmla="*/ 13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7" name="Freeform 146">
                <a:extLst>
                  <a:ext uri="{FF2B5EF4-FFF2-40B4-BE49-F238E27FC236}">
                    <a16:creationId xmlns="" xmlns:a16="http://schemas.microsoft.com/office/drawing/2014/main" id="{67C98FD8-2580-9849-AA63-1D1AA1EB8A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19 h 19"/>
                  <a:gd name="T4" fmla="*/ 28 w 28"/>
                  <a:gd name="T5" fmla="*/ 19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Freeform 147">
                <a:extLst>
                  <a:ext uri="{FF2B5EF4-FFF2-40B4-BE49-F238E27FC236}">
                    <a16:creationId xmlns="" xmlns:a16="http://schemas.microsoft.com/office/drawing/2014/main" id="{8DFE88A1-BE84-604B-9513-6D52A484C6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15 w 15"/>
                  <a:gd name="T1" fmla="*/ 19 h 19"/>
                  <a:gd name="T2" fmla="*/ 8 w 15"/>
                  <a:gd name="T3" fmla="*/ 9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9" name="Freeform 148">
                <a:extLst>
                  <a:ext uri="{FF2B5EF4-FFF2-40B4-BE49-F238E27FC236}">
                    <a16:creationId xmlns="" xmlns:a16="http://schemas.microsoft.com/office/drawing/2014/main" id="{5406B338-9C3E-524E-A132-773B486500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13 w 20"/>
                  <a:gd name="T1" fmla="*/ 18 h 18"/>
                  <a:gd name="T2" fmla="*/ 20 w 20"/>
                  <a:gd name="T3" fmla="*/ 0 h 18"/>
                  <a:gd name="T4" fmla="*/ 0 w 20"/>
                  <a:gd name="T5" fmla="*/ 0 h 18"/>
                  <a:gd name="T6" fmla="*/ 13 w 20"/>
                  <a:gd name="T7" fmla="*/ 18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70" name="Group 149">
              <a:extLst>
                <a:ext uri="{FF2B5EF4-FFF2-40B4-BE49-F238E27FC236}">
                  <a16:creationId xmlns="" xmlns:a16="http://schemas.microsoft.com/office/drawing/2014/main" id="{4245026E-4DE8-AC4A-89D0-FE81F806E94C}"/>
                </a:ext>
              </a:extLst>
            </p:cNvPr>
            <p:cNvGrpSpPr>
              <a:grpSpLocks/>
            </p:cNvGrpSpPr>
            <p:nvPr>
              <p:custDataLst>
                <p:tags r:id="rId89"/>
              </p:custDataLst>
            </p:nvPr>
          </p:nvGrpSpPr>
          <p:grpSpPr bwMode="auto">
            <a:xfrm>
              <a:off x="7870825" y="3810000"/>
              <a:ext cx="185738" cy="214313"/>
              <a:chOff x="5486" y="2743"/>
              <a:chExt cx="137" cy="132"/>
            </a:xfrm>
          </p:grpSpPr>
          <p:sp>
            <p:nvSpPr>
              <p:cNvPr id="171" name="Freeform 150">
                <a:extLst>
                  <a:ext uri="{FF2B5EF4-FFF2-40B4-BE49-F238E27FC236}">
                    <a16:creationId xmlns="" xmlns:a16="http://schemas.microsoft.com/office/drawing/2014/main" id="{27C61B1B-727C-D34D-B332-1F2C5ED331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31 h 87"/>
                  <a:gd name="T2" fmla="*/ 0 w 40"/>
                  <a:gd name="T3" fmla="*/ 42 h 87"/>
                  <a:gd name="T4" fmla="*/ 2 w 40"/>
                  <a:gd name="T5" fmla="*/ 51 h 87"/>
                  <a:gd name="T6" fmla="*/ 5 w 40"/>
                  <a:gd name="T7" fmla="*/ 59 h 87"/>
                  <a:gd name="T8" fmla="*/ 10 w 40"/>
                  <a:gd name="T9" fmla="*/ 66 h 87"/>
                  <a:gd name="T10" fmla="*/ 15 w 40"/>
                  <a:gd name="T11" fmla="*/ 72 h 87"/>
                  <a:gd name="T12" fmla="*/ 22 w 40"/>
                  <a:gd name="T13" fmla="*/ 77 h 87"/>
                  <a:gd name="T14" fmla="*/ 31 w 40"/>
                  <a:gd name="T15" fmla="*/ 82 h 87"/>
                  <a:gd name="T16" fmla="*/ 40 w 40"/>
                  <a:gd name="T17" fmla="*/ 87 h 87"/>
                  <a:gd name="T18" fmla="*/ 35 w 40"/>
                  <a:gd name="T19" fmla="*/ 82 h 87"/>
                  <a:gd name="T20" fmla="*/ 32 w 40"/>
                  <a:gd name="T21" fmla="*/ 77 h 87"/>
                  <a:gd name="T22" fmla="*/ 29 w 40"/>
                  <a:gd name="T23" fmla="*/ 71 h 87"/>
                  <a:gd name="T24" fmla="*/ 26 w 40"/>
                  <a:gd name="T25" fmla="*/ 65 h 87"/>
                  <a:gd name="T26" fmla="*/ 22 w 40"/>
                  <a:gd name="T27" fmla="*/ 52 h 87"/>
                  <a:gd name="T28" fmla="*/ 20 w 40"/>
                  <a:gd name="T29" fmla="*/ 39 h 87"/>
                  <a:gd name="T30" fmla="*/ 18 w 40"/>
                  <a:gd name="T31" fmla="*/ 27 h 87"/>
                  <a:gd name="T32" fmla="*/ 13 w 40"/>
                  <a:gd name="T33" fmla="*/ 16 h 87"/>
                  <a:gd name="T34" fmla="*/ 11 w 40"/>
                  <a:gd name="T35" fmla="*/ 11 h 87"/>
                  <a:gd name="T36" fmla="*/ 8 w 40"/>
                  <a:gd name="T37" fmla="*/ 6 h 87"/>
                  <a:gd name="T38" fmla="*/ 4 w 40"/>
                  <a:gd name="T39" fmla="*/ 3 h 87"/>
                  <a:gd name="T40" fmla="*/ 0 w 40"/>
                  <a:gd name="T41" fmla="*/ 0 h 87"/>
                  <a:gd name="T42" fmla="*/ 0 w 40"/>
                  <a:gd name="T43" fmla="*/ 9 h 87"/>
                  <a:gd name="T44" fmla="*/ 0 w 40"/>
                  <a:gd name="T45" fmla="*/ 16 h 87"/>
                  <a:gd name="T46" fmla="*/ 0 w 40"/>
                  <a:gd name="T47" fmla="*/ 23 h 87"/>
                  <a:gd name="T48" fmla="*/ 0 w 40"/>
                  <a:gd name="T49" fmla="*/ 31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2" name="Freeform 151">
                <a:extLst>
                  <a:ext uri="{FF2B5EF4-FFF2-40B4-BE49-F238E27FC236}">
                    <a16:creationId xmlns="" xmlns:a16="http://schemas.microsoft.com/office/drawing/2014/main" id="{8AA74321-E9F1-6D45-80F9-2D5F1A202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31 h 37"/>
                  <a:gd name="T2" fmla="*/ 19 w 61"/>
                  <a:gd name="T3" fmla="*/ 32 h 37"/>
                  <a:gd name="T4" fmla="*/ 35 w 61"/>
                  <a:gd name="T5" fmla="*/ 34 h 37"/>
                  <a:gd name="T6" fmla="*/ 49 w 61"/>
                  <a:gd name="T7" fmla="*/ 36 h 37"/>
                  <a:gd name="T8" fmla="*/ 61 w 61"/>
                  <a:gd name="T9" fmla="*/ 37 h 37"/>
                  <a:gd name="T10" fmla="*/ 55 w 61"/>
                  <a:gd name="T11" fmla="*/ 29 h 37"/>
                  <a:gd name="T12" fmla="*/ 49 w 61"/>
                  <a:gd name="T13" fmla="*/ 22 h 37"/>
                  <a:gd name="T14" fmla="*/ 42 w 61"/>
                  <a:gd name="T15" fmla="*/ 17 h 37"/>
                  <a:gd name="T16" fmla="*/ 35 w 61"/>
                  <a:gd name="T17" fmla="*/ 12 h 37"/>
                  <a:gd name="T18" fmla="*/ 28 w 61"/>
                  <a:gd name="T19" fmla="*/ 9 h 37"/>
                  <a:gd name="T20" fmla="*/ 19 w 61"/>
                  <a:gd name="T21" fmla="*/ 5 h 37"/>
                  <a:gd name="T22" fmla="*/ 10 w 61"/>
                  <a:gd name="T23" fmla="*/ 2 h 37"/>
                  <a:gd name="T24" fmla="*/ 0 w 61"/>
                  <a:gd name="T25" fmla="*/ 0 h 37"/>
                  <a:gd name="T26" fmla="*/ 0 w 61"/>
                  <a:gd name="T27" fmla="*/ 31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3" name="Freeform 152">
                <a:extLst>
                  <a:ext uri="{FF2B5EF4-FFF2-40B4-BE49-F238E27FC236}">
                    <a16:creationId xmlns="" xmlns:a16="http://schemas.microsoft.com/office/drawing/2014/main" id="{FDE5A4C3-1A5C-3E40-A830-EFAD8FABF2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40 w 40"/>
                  <a:gd name="T1" fmla="*/ 30 h 30"/>
                  <a:gd name="T2" fmla="*/ 33 w 40"/>
                  <a:gd name="T3" fmla="*/ 28 h 30"/>
                  <a:gd name="T4" fmla="*/ 26 w 40"/>
                  <a:gd name="T5" fmla="*/ 25 h 30"/>
                  <a:gd name="T6" fmla="*/ 21 w 40"/>
                  <a:gd name="T7" fmla="*/ 22 h 30"/>
                  <a:gd name="T8" fmla="*/ 15 w 40"/>
                  <a:gd name="T9" fmla="*/ 19 h 30"/>
                  <a:gd name="T10" fmla="*/ 11 w 40"/>
                  <a:gd name="T11" fmla="*/ 16 h 30"/>
                  <a:gd name="T12" fmla="*/ 6 w 40"/>
                  <a:gd name="T13" fmla="*/ 11 h 30"/>
                  <a:gd name="T14" fmla="*/ 3 w 40"/>
                  <a:gd name="T15" fmla="*/ 6 h 30"/>
                  <a:gd name="T16" fmla="*/ 0 w 40"/>
                  <a:gd name="T17" fmla="*/ 0 h 30"/>
                  <a:gd name="T18" fmla="*/ 8 w 40"/>
                  <a:gd name="T19" fmla="*/ 2 h 30"/>
                  <a:gd name="T20" fmla="*/ 15 w 40"/>
                  <a:gd name="T21" fmla="*/ 6 h 30"/>
                  <a:gd name="T22" fmla="*/ 22 w 40"/>
                  <a:gd name="T23" fmla="*/ 10 h 30"/>
                  <a:gd name="T24" fmla="*/ 27 w 40"/>
                  <a:gd name="T25" fmla="*/ 15 h 30"/>
                  <a:gd name="T26" fmla="*/ 33 w 40"/>
                  <a:gd name="T27" fmla="*/ 19 h 30"/>
                  <a:gd name="T28" fmla="*/ 36 w 40"/>
                  <a:gd name="T29" fmla="*/ 23 h 30"/>
                  <a:gd name="T30" fmla="*/ 39 w 40"/>
                  <a:gd name="T31" fmla="*/ 27 h 30"/>
                  <a:gd name="T32" fmla="*/ 40 w 40"/>
                  <a:gd name="T33" fmla="*/ 3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4" name="Freeform 153">
                <a:extLst>
                  <a:ext uri="{FF2B5EF4-FFF2-40B4-BE49-F238E27FC236}">
                    <a16:creationId xmlns="" xmlns:a16="http://schemas.microsoft.com/office/drawing/2014/main" id="{BD8B2166-4A66-6241-BA74-B6B20608D97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74 w 74"/>
                  <a:gd name="T1" fmla="*/ 80 h 80"/>
                  <a:gd name="T2" fmla="*/ 72 w 74"/>
                  <a:gd name="T3" fmla="*/ 73 h 80"/>
                  <a:gd name="T4" fmla="*/ 71 w 74"/>
                  <a:gd name="T5" fmla="*/ 66 h 80"/>
                  <a:gd name="T6" fmla="*/ 69 w 74"/>
                  <a:gd name="T7" fmla="*/ 60 h 80"/>
                  <a:gd name="T8" fmla="*/ 66 w 74"/>
                  <a:gd name="T9" fmla="*/ 53 h 80"/>
                  <a:gd name="T10" fmla="*/ 58 w 74"/>
                  <a:gd name="T11" fmla="*/ 42 h 80"/>
                  <a:gd name="T12" fmla="*/ 48 w 74"/>
                  <a:gd name="T13" fmla="*/ 33 h 80"/>
                  <a:gd name="T14" fmla="*/ 38 w 74"/>
                  <a:gd name="T15" fmla="*/ 25 h 80"/>
                  <a:gd name="T16" fmla="*/ 29 w 74"/>
                  <a:gd name="T17" fmla="*/ 17 h 80"/>
                  <a:gd name="T18" fmla="*/ 20 w 74"/>
                  <a:gd name="T19" fmla="*/ 9 h 80"/>
                  <a:gd name="T20" fmla="*/ 13 w 74"/>
                  <a:gd name="T21" fmla="*/ 0 h 80"/>
                  <a:gd name="T22" fmla="*/ 9 w 74"/>
                  <a:gd name="T23" fmla="*/ 5 h 80"/>
                  <a:gd name="T24" fmla="*/ 4 w 74"/>
                  <a:gd name="T25" fmla="*/ 10 h 80"/>
                  <a:gd name="T26" fmla="*/ 1 w 74"/>
                  <a:gd name="T27" fmla="*/ 14 h 80"/>
                  <a:gd name="T28" fmla="*/ 0 w 74"/>
                  <a:gd name="T29" fmla="*/ 19 h 80"/>
                  <a:gd name="T30" fmla="*/ 0 w 74"/>
                  <a:gd name="T31" fmla="*/ 25 h 80"/>
                  <a:gd name="T32" fmla="*/ 2 w 74"/>
                  <a:gd name="T33" fmla="*/ 30 h 80"/>
                  <a:gd name="T34" fmla="*/ 4 w 74"/>
                  <a:gd name="T35" fmla="*/ 36 h 80"/>
                  <a:gd name="T36" fmla="*/ 7 w 74"/>
                  <a:gd name="T37" fmla="*/ 41 h 80"/>
                  <a:gd name="T38" fmla="*/ 10 w 74"/>
                  <a:gd name="T39" fmla="*/ 46 h 80"/>
                  <a:gd name="T40" fmla="*/ 14 w 74"/>
                  <a:gd name="T41" fmla="*/ 51 h 80"/>
                  <a:gd name="T42" fmla="*/ 19 w 74"/>
                  <a:gd name="T43" fmla="*/ 56 h 80"/>
                  <a:gd name="T44" fmla="*/ 24 w 74"/>
                  <a:gd name="T45" fmla="*/ 61 h 80"/>
                  <a:gd name="T46" fmla="*/ 30 w 74"/>
                  <a:gd name="T47" fmla="*/ 66 h 80"/>
                  <a:gd name="T48" fmla="*/ 35 w 74"/>
                  <a:gd name="T49" fmla="*/ 69 h 80"/>
                  <a:gd name="T50" fmla="*/ 42 w 74"/>
                  <a:gd name="T51" fmla="*/ 72 h 80"/>
                  <a:gd name="T52" fmla="*/ 47 w 74"/>
                  <a:gd name="T53" fmla="*/ 75 h 80"/>
                  <a:gd name="T54" fmla="*/ 54 w 74"/>
                  <a:gd name="T55" fmla="*/ 77 h 80"/>
                  <a:gd name="T56" fmla="*/ 60 w 74"/>
                  <a:gd name="T57" fmla="*/ 79 h 80"/>
                  <a:gd name="T58" fmla="*/ 67 w 74"/>
                  <a:gd name="T59" fmla="*/ 80 h 80"/>
                  <a:gd name="T60" fmla="*/ 74 w 74"/>
                  <a:gd name="T61" fmla="*/ 8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Freeform 154">
                <a:extLst>
                  <a:ext uri="{FF2B5EF4-FFF2-40B4-BE49-F238E27FC236}">
                    <a16:creationId xmlns="" xmlns:a16="http://schemas.microsoft.com/office/drawing/2014/main" id="{8FE1A3C3-78EA-CF48-AE7E-111FE1A337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52 w 86"/>
                  <a:gd name="T1" fmla="*/ 80 h 80"/>
                  <a:gd name="T2" fmla="*/ 86 w 86"/>
                  <a:gd name="T3" fmla="*/ 80 h 80"/>
                  <a:gd name="T4" fmla="*/ 86 w 86"/>
                  <a:gd name="T5" fmla="*/ 61 h 80"/>
                  <a:gd name="T6" fmla="*/ 79 w 86"/>
                  <a:gd name="T7" fmla="*/ 59 h 80"/>
                  <a:gd name="T8" fmla="*/ 72 w 86"/>
                  <a:gd name="T9" fmla="*/ 56 h 80"/>
                  <a:gd name="T10" fmla="*/ 67 w 86"/>
                  <a:gd name="T11" fmla="*/ 53 h 80"/>
                  <a:gd name="T12" fmla="*/ 61 w 86"/>
                  <a:gd name="T13" fmla="*/ 49 h 80"/>
                  <a:gd name="T14" fmla="*/ 51 w 86"/>
                  <a:gd name="T15" fmla="*/ 41 h 80"/>
                  <a:gd name="T16" fmla="*/ 43 w 86"/>
                  <a:gd name="T17" fmla="*/ 33 h 80"/>
                  <a:gd name="T18" fmla="*/ 34 w 86"/>
                  <a:gd name="T19" fmla="*/ 25 h 80"/>
                  <a:gd name="T20" fmla="*/ 24 w 86"/>
                  <a:gd name="T21" fmla="*/ 16 h 80"/>
                  <a:gd name="T22" fmla="*/ 13 w 86"/>
                  <a:gd name="T23" fmla="*/ 7 h 80"/>
                  <a:gd name="T24" fmla="*/ 0 w 86"/>
                  <a:gd name="T25" fmla="*/ 0 h 80"/>
                  <a:gd name="T26" fmla="*/ 1 w 86"/>
                  <a:gd name="T27" fmla="*/ 8 h 80"/>
                  <a:gd name="T28" fmla="*/ 5 w 86"/>
                  <a:gd name="T29" fmla="*/ 20 h 80"/>
                  <a:gd name="T30" fmla="*/ 11 w 86"/>
                  <a:gd name="T31" fmla="*/ 32 h 80"/>
                  <a:gd name="T32" fmla="*/ 18 w 86"/>
                  <a:gd name="T33" fmla="*/ 44 h 80"/>
                  <a:gd name="T34" fmla="*/ 27 w 86"/>
                  <a:gd name="T35" fmla="*/ 57 h 80"/>
                  <a:gd name="T36" fmla="*/ 36 w 86"/>
                  <a:gd name="T37" fmla="*/ 67 h 80"/>
                  <a:gd name="T38" fmla="*/ 40 w 86"/>
                  <a:gd name="T39" fmla="*/ 72 h 80"/>
                  <a:gd name="T40" fmla="*/ 45 w 86"/>
                  <a:gd name="T41" fmla="*/ 76 h 80"/>
                  <a:gd name="T42" fmla="*/ 49 w 86"/>
                  <a:gd name="T43" fmla="*/ 79 h 80"/>
                  <a:gd name="T44" fmla="*/ 52 w 86"/>
                  <a:gd name="T45" fmla="*/ 8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Freeform 155">
                <a:extLst>
                  <a:ext uri="{FF2B5EF4-FFF2-40B4-BE49-F238E27FC236}">
                    <a16:creationId xmlns="" xmlns:a16="http://schemas.microsoft.com/office/drawing/2014/main" id="{164FC935-E810-4944-8637-9C1091F206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7 h 31"/>
                  <a:gd name="T2" fmla="*/ 3 w 74"/>
                  <a:gd name="T3" fmla="*/ 11 h 31"/>
                  <a:gd name="T4" fmla="*/ 5 w 74"/>
                  <a:gd name="T5" fmla="*/ 15 h 31"/>
                  <a:gd name="T6" fmla="*/ 9 w 74"/>
                  <a:gd name="T7" fmla="*/ 18 h 31"/>
                  <a:gd name="T8" fmla="*/ 14 w 74"/>
                  <a:gd name="T9" fmla="*/ 21 h 31"/>
                  <a:gd name="T10" fmla="*/ 18 w 74"/>
                  <a:gd name="T11" fmla="*/ 24 h 31"/>
                  <a:gd name="T12" fmla="*/ 23 w 74"/>
                  <a:gd name="T13" fmla="*/ 26 h 31"/>
                  <a:gd name="T14" fmla="*/ 29 w 74"/>
                  <a:gd name="T15" fmla="*/ 28 h 31"/>
                  <a:gd name="T16" fmla="*/ 34 w 74"/>
                  <a:gd name="T17" fmla="*/ 29 h 31"/>
                  <a:gd name="T18" fmla="*/ 47 w 74"/>
                  <a:gd name="T19" fmla="*/ 31 h 31"/>
                  <a:gd name="T20" fmla="*/ 58 w 74"/>
                  <a:gd name="T21" fmla="*/ 31 h 31"/>
                  <a:gd name="T22" fmla="*/ 63 w 74"/>
                  <a:gd name="T23" fmla="*/ 30 h 31"/>
                  <a:gd name="T24" fmla="*/ 67 w 74"/>
                  <a:gd name="T25" fmla="*/ 29 h 31"/>
                  <a:gd name="T26" fmla="*/ 71 w 74"/>
                  <a:gd name="T27" fmla="*/ 27 h 31"/>
                  <a:gd name="T28" fmla="*/ 74 w 74"/>
                  <a:gd name="T29" fmla="*/ 25 h 31"/>
                  <a:gd name="T30" fmla="*/ 64 w 74"/>
                  <a:gd name="T31" fmla="*/ 18 h 31"/>
                  <a:gd name="T32" fmla="*/ 55 w 74"/>
                  <a:gd name="T33" fmla="*/ 13 h 31"/>
                  <a:gd name="T34" fmla="*/ 51 w 74"/>
                  <a:gd name="T35" fmla="*/ 10 h 31"/>
                  <a:gd name="T36" fmla="*/ 47 w 74"/>
                  <a:gd name="T37" fmla="*/ 8 h 31"/>
                  <a:gd name="T38" fmla="*/ 43 w 74"/>
                  <a:gd name="T39" fmla="*/ 5 h 31"/>
                  <a:gd name="T40" fmla="*/ 41 w 74"/>
                  <a:gd name="T41" fmla="*/ 0 h 31"/>
                  <a:gd name="T42" fmla="*/ 33 w 74"/>
                  <a:gd name="T43" fmla="*/ 1 h 31"/>
                  <a:gd name="T44" fmla="*/ 28 w 74"/>
                  <a:gd name="T45" fmla="*/ 1 h 31"/>
                  <a:gd name="T46" fmla="*/ 22 w 74"/>
                  <a:gd name="T47" fmla="*/ 1 h 31"/>
                  <a:gd name="T48" fmla="*/ 18 w 74"/>
                  <a:gd name="T49" fmla="*/ 0 h 31"/>
                  <a:gd name="T50" fmla="*/ 14 w 74"/>
                  <a:gd name="T51" fmla="*/ 0 h 31"/>
                  <a:gd name="T52" fmla="*/ 10 w 74"/>
                  <a:gd name="T53" fmla="*/ 0 h 31"/>
                  <a:gd name="T54" fmla="*/ 6 w 74"/>
                  <a:gd name="T55" fmla="*/ 3 h 31"/>
                  <a:gd name="T56" fmla="*/ 0 w 74"/>
                  <a:gd name="T57" fmla="*/ 7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Freeform 156">
                <a:extLst>
                  <a:ext uri="{FF2B5EF4-FFF2-40B4-BE49-F238E27FC236}">
                    <a16:creationId xmlns="" xmlns:a16="http://schemas.microsoft.com/office/drawing/2014/main" id="{71355A04-64BD-B34D-BBBD-55406B0AC3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20 w 20"/>
                  <a:gd name="T1" fmla="*/ 0 h 1"/>
                  <a:gd name="T2" fmla="*/ 0 w 20"/>
                  <a:gd name="T3" fmla="*/ 0 h 1"/>
                  <a:gd name="T4" fmla="*/ 10 w 20"/>
                  <a:gd name="T5" fmla="*/ 0 h 1"/>
                  <a:gd name="T6" fmla="*/ 2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Freeform 157">
                <a:extLst>
                  <a:ext uri="{FF2B5EF4-FFF2-40B4-BE49-F238E27FC236}">
                    <a16:creationId xmlns="" xmlns:a16="http://schemas.microsoft.com/office/drawing/2014/main" id="{287192E3-A279-A943-9554-A6B2098BF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7 w 100"/>
                  <a:gd name="T1" fmla="*/ 25 h 65"/>
                  <a:gd name="T2" fmla="*/ 35 w 100"/>
                  <a:gd name="T3" fmla="*/ 40 h 65"/>
                  <a:gd name="T4" fmla="*/ 61 w 100"/>
                  <a:gd name="T5" fmla="*/ 55 h 65"/>
                  <a:gd name="T6" fmla="*/ 72 w 100"/>
                  <a:gd name="T7" fmla="*/ 60 h 65"/>
                  <a:gd name="T8" fmla="*/ 83 w 100"/>
                  <a:gd name="T9" fmla="*/ 65 h 65"/>
                  <a:gd name="T10" fmla="*/ 87 w 100"/>
                  <a:gd name="T11" fmla="*/ 65 h 65"/>
                  <a:gd name="T12" fmla="*/ 91 w 100"/>
                  <a:gd name="T13" fmla="*/ 65 h 65"/>
                  <a:gd name="T14" fmla="*/ 96 w 100"/>
                  <a:gd name="T15" fmla="*/ 65 h 65"/>
                  <a:gd name="T16" fmla="*/ 100 w 100"/>
                  <a:gd name="T17" fmla="*/ 62 h 65"/>
                  <a:gd name="T18" fmla="*/ 94 w 100"/>
                  <a:gd name="T19" fmla="*/ 60 h 65"/>
                  <a:gd name="T20" fmla="*/ 88 w 100"/>
                  <a:gd name="T21" fmla="*/ 56 h 65"/>
                  <a:gd name="T22" fmla="*/ 83 w 100"/>
                  <a:gd name="T23" fmla="*/ 52 h 65"/>
                  <a:gd name="T24" fmla="*/ 78 w 100"/>
                  <a:gd name="T25" fmla="*/ 46 h 65"/>
                  <a:gd name="T26" fmla="*/ 67 w 100"/>
                  <a:gd name="T27" fmla="*/ 34 h 65"/>
                  <a:gd name="T28" fmla="*/ 57 w 100"/>
                  <a:gd name="T29" fmla="*/ 21 h 65"/>
                  <a:gd name="T30" fmla="*/ 52 w 100"/>
                  <a:gd name="T31" fmla="*/ 15 h 65"/>
                  <a:gd name="T32" fmla="*/ 46 w 100"/>
                  <a:gd name="T33" fmla="*/ 10 h 65"/>
                  <a:gd name="T34" fmla="*/ 40 w 100"/>
                  <a:gd name="T35" fmla="*/ 4 h 65"/>
                  <a:gd name="T36" fmla="*/ 33 w 100"/>
                  <a:gd name="T37" fmla="*/ 1 h 65"/>
                  <a:gd name="T38" fmla="*/ 27 w 100"/>
                  <a:gd name="T39" fmla="*/ 0 h 65"/>
                  <a:gd name="T40" fmla="*/ 18 w 100"/>
                  <a:gd name="T41" fmla="*/ 0 h 65"/>
                  <a:gd name="T42" fmla="*/ 10 w 100"/>
                  <a:gd name="T43" fmla="*/ 2 h 65"/>
                  <a:gd name="T44" fmla="*/ 0 w 100"/>
                  <a:gd name="T45" fmla="*/ 6 h 65"/>
                  <a:gd name="T46" fmla="*/ 7 w 100"/>
                  <a:gd name="T47" fmla="*/ 25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9" name="Freeform 158">
                <a:extLst>
                  <a:ext uri="{FF2B5EF4-FFF2-40B4-BE49-F238E27FC236}">
                    <a16:creationId xmlns="" xmlns:a16="http://schemas.microsoft.com/office/drawing/2014/main" id="{B396D6E7-63EF-8641-B23A-9EDFA3A3A2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72 w 79"/>
                  <a:gd name="T1" fmla="*/ 85 h 104"/>
                  <a:gd name="T2" fmla="*/ 56 w 79"/>
                  <a:gd name="T3" fmla="*/ 61 h 104"/>
                  <a:gd name="T4" fmla="*/ 43 w 79"/>
                  <a:gd name="T5" fmla="*/ 41 h 104"/>
                  <a:gd name="T6" fmla="*/ 29 w 79"/>
                  <a:gd name="T7" fmla="*/ 20 h 104"/>
                  <a:gd name="T8" fmla="*/ 12 w 79"/>
                  <a:gd name="T9" fmla="*/ 0 h 104"/>
                  <a:gd name="T10" fmla="*/ 6 w 79"/>
                  <a:gd name="T11" fmla="*/ 16 h 104"/>
                  <a:gd name="T12" fmla="*/ 2 w 79"/>
                  <a:gd name="T13" fmla="*/ 33 h 104"/>
                  <a:gd name="T14" fmla="*/ 0 w 79"/>
                  <a:gd name="T15" fmla="*/ 40 h 104"/>
                  <a:gd name="T16" fmla="*/ 0 w 79"/>
                  <a:gd name="T17" fmla="*/ 48 h 104"/>
                  <a:gd name="T18" fmla="*/ 0 w 79"/>
                  <a:gd name="T19" fmla="*/ 55 h 104"/>
                  <a:gd name="T20" fmla="*/ 0 w 79"/>
                  <a:gd name="T21" fmla="*/ 62 h 104"/>
                  <a:gd name="T22" fmla="*/ 1 w 79"/>
                  <a:gd name="T23" fmla="*/ 68 h 104"/>
                  <a:gd name="T24" fmla="*/ 3 w 79"/>
                  <a:gd name="T25" fmla="*/ 74 h 104"/>
                  <a:gd name="T26" fmla="*/ 6 w 79"/>
                  <a:gd name="T27" fmla="*/ 79 h 104"/>
                  <a:gd name="T28" fmla="*/ 10 w 79"/>
                  <a:gd name="T29" fmla="*/ 83 h 104"/>
                  <a:gd name="T30" fmla="*/ 14 w 79"/>
                  <a:gd name="T31" fmla="*/ 88 h 104"/>
                  <a:gd name="T32" fmla="*/ 20 w 79"/>
                  <a:gd name="T33" fmla="*/ 90 h 104"/>
                  <a:gd name="T34" fmla="*/ 25 w 79"/>
                  <a:gd name="T35" fmla="*/ 92 h 104"/>
                  <a:gd name="T36" fmla="*/ 33 w 79"/>
                  <a:gd name="T37" fmla="*/ 92 h 104"/>
                  <a:gd name="T38" fmla="*/ 43 w 79"/>
                  <a:gd name="T39" fmla="*/ 93 h 104"/>
                  <a:gd name="T40" fmla="*/ 54 w 79"/>
                  <a:gd name="T41" fmla="*/ 96 h 104"/>
                  <a:gd name="T42" fmla="*/ 65 w 79"/>
                  <a:gd name="T43" fmla="*/ 100 h 104"/>
                  <a:gd name="T44" fmla="*/ 79 w 79"/>
                  <a:gd name="T45" fmla="*/ 104 h 104"/>
                  <a:gd name="T46" fmla="*/ 72 w 79"/>
                  <a:gd name="T47" fmla="*/ 85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80" name="Freeform 159">
              <a:extLst>
                <a:ext uri="{FF2B5EF4-FFF2-40B4-BE49-F238E27FC236}">
                  <a16:creationId xmlns="" xmlns:a16="http://schemas.microsoft.com/office/drawing/2014/main" id="{1721593E-8EA0-5147-8A6A-6F4225AB96A3}"/>
                </a:ext>
              </a:extLst>
            </p:cNvPr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4216400" y="3548063"/>
              <a:ext cx="11113" cy="55562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1" name="Freeform 160">
              <a:extLst>
                <a:ext uri="{FF2B5EF4-FFF2-40B4-BE49-F238E27FC236}">
                  <a16:creationId xmlns="" xmlns:a16="http://schemas.microsoft.com/office/drawing/2014/main" id="{4E928776-6EFB-CF4F-A423-4AEA12DBA2BA}"/>
                </a:ext>
              </a:extLst>
            </p:cNvPr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4140200" y="3687763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39 w 39"/>
                <a:gd name="T3" fmla="*/ 0 h 35"/>
                <a:gd name="T4" fmla="*/ 36 w 39"/>
                <a:gd name="T5" fmla="*/ 9 h 35"/>
                <a:gd name="T6" fmla="*/ 33 w 39"/>
                <a:gd name="T7" fmla="*/ 19 h 35"/>
                <a:gd name="T8" fmla="*/ 27 w 39"/>
                <a:gd name="T9" fmla="*/ 28 h 35"/>
                <a:gd name="T10" fmla="*/ 22 w 39"/>
                <a:gd name="T11" fmla="*/ 34 h 35"/>
                <a:gd name="T12" fmla="*/ 19 w 39"/>
                <a:gd name="T13" fmla="*/ 35 h 35"/>
                <a:gd name="T14" fmla="*/ 16 w 39"/>
                <a:gd name="T15" fmla="*/ 35 h 35"/>
                <a:gd name="T16" fmla="*/ 13 w 39"/>
                <a:gd name="T17" fmla="*/ 34 h 35"/>
                <a:gd name="T18" fmla="*/ 11 w 39"/>
                <a:gd name="T19" fmla="*/ 31 h 35"/>
                <a:gd name="T20" fmla="*/ 7 w 39"/>
                <a:gd name="T21" fmla="*/ 26 h 35"/>
                <a:gd name="T22" fmla="*/ 5 w 39"/>
                <a:gd name="T23" fmla="*/ 20 h 35"/>
                <a:gd name="T24" fmla="*/ 2 w 39"/>
                <a:gd name="T25" fmla="*/ 11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2" name="Freeform 161">
              <a:extLst>
                <a:ext uri="{FF2B5EF4-FFF2-40B4-BE49-F238E27FC236}">
                  <a16:creationId xmlns="" xmlns:a16="http://schemas.microsoft.com/office/drawing/2014/main" id="{F2318DFB-2618-C446-9C61-5433C1EBFC61}"/>
                </a:ext>
              </a:extLst>
            </p:cNvPr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5938838" y="2014538"/>
              <a:ext cx="728662" cy="331787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3" name="Freeform 162">
              <a:extLst>
                <a:ext uri="{FF2B5EF4-FFF2-40B4-BE49-F238E27FC236}">
                  <a16:creationId xmlns="" xmlns:a16="http://schemas.microsoft.com/office/drawing/2014/main" id="{43C4CDDA-D83B-774B-BFC9-B7A16FC9219E}"/>
                </a:ext>
              </a:extLst>
            </p:cNvPr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265363" y="3981450"/>
              <a:ext cx="328612" cy="415925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84" name="Freeform 163">
              <a:extLst>
                <a:ext uri="{FF2B5EF4-FFF2-40B4-BE49-F238E27FC236}">
                  <a16:creationId xmlns="" xmlns:a16="http://schemas.microsoft.com/office/drawing/2014/main" id="{7D879207-1266-7040-BDCC-C86A8EA53450}"/>
                </a:ext>
              </a:extLst>
            </p:cNvPr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479675" y="3411538"/>
              <a:ext cx="119063" cy="21590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85" name="Group 164">
              <a:extLst>
                <a:ext uri="{FF2B5EF4-FFF2-40B4-BE49-F238E27FC236}">
                  <a16:creationId xmlns="" xmlns:a16="http://schemas.microsoft.com/office/drawing/2014/main" id="{E14D290E-25D1-D844-9E4E-3519F7B9BDB3}"/>
                </a:ext>
              </a:extLst>
            </p:cNvPr>
            <p:cNvGrpSpPr>
              <a:grpSpLocks/>
            </p:cNvGrpSpPr>
            <p:nvPr>
              <p:custDataLst>
                <p:tags r:id="rId95"/>
              </p:custDataLst>
            </p:nvPr>
          </p:nvGrpSpPr>
          <p:grpSpPr bwMode="auto">
            <a:xfrm>
              <a:off x="2193925" y="3246438"/>
              <a:ext cx="323850" cy="401637"/>
              <a:chOff x="1486" y="2412"/>
              <a:chExt cx="244" cy="256"/>
            </a:xfrm>
          </p:grpSpPr>
          <p:sp>
            <p:nvSpPr>
              <p:cNvPr id="186" name="Freeform 165">
                <a:extLst>
                  <a:ext uri="{FF2B5EF4-FFF2-40B4-BE49-F238E27FC236}">
                    <a16:creationId xmlns="" xmlns:a16="http://schemas.microsoft.com/office/drawing/2014/main" id="{52FDE9B9-1613-9C49-8DEB-DAAEB01C00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7" name="Freeform 166">
                <a:extLst>
                  <a:ext uri="{FF2B5EF4-FFF2-40B4-BE49-F238E27FC236}">
                    <a16:creationId xmlns="" xmlns:a16="http://schemas.microsoft.com/office/drawing/2014/main" id="{7D8529FC-66A3-6044-83A9-384EC1082C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8" name="Freeform 167">
                <a:extLst>
                  <a:ext uri="{FF2B5EF4-FFF2-40B4-BE49-F238E27FC236}">
                    <a16:creationId xmlns="" xmlns:a16="http://schemas.microsoft.com/office/drawing/2014/main" id="{F0461087-84E3-CD49-8EC6-62536E5BD7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9" name="Freeform 168">
                <a:extLst>
                  <a:ext uri="{FF2B5EF4-FFF2-40B4-BE49-F238E27FC236}">
                    <a16:creationId xmlns="" xmlns:a16="http://schemas.microsoft.com/office/drawing/2014/main" id="{BA8A49E3-9F1B-6F4B-A426-4CDBF5E4B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90" name="Freeform 169">
              <a:extLst>
                <a:ext uri="{FF2B5EF4-FFF2-40B4-BE49-F238E27FC236}">
                  <a16:creationId xmlns="" xmlns:a16="http://schemas.microsoft.com/office/drawing/2014/main" id="{C95CE4BE-E4D4-414F-9257-0C4D1CE3DE95}"/>
                </a:ext>
              </a:extLst>
            </p:cNvPr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7215188" y="4786313"/>
              <a:ext cx="31750" cy="11112"/>
            </a:xfrm>
            <a:custGeom>
              <a:avLst/>
              <a:gdLst>
                <a:gd name="T0" fmla="*/ 0 w 79"/>
                <a:gd name="T1" fmla="*/ 23 h 23"/>
                <a:gd name="T2" fmla="*/ 22 w 79"/>
                <a:gd name="T3" fmla="*/ 13 h 23"/>
                <a:gd name="T4" fmla="*/ 45 w 79"/>
                <a:gd name="T5" fmla="*/ 4 h 23"/>
                <a:gd name="T6" fmla="*/ 56 w 79"/>
                <a:gd name="T7" fmla="*/ 1 h 23"/>
                <a:gd name="T8" fmla="*/ 65 w 79"/>
                <a:gd name="T9" fmla="*/ 0 h 23"/>
                <a:gd name="T10" fmla="*/ 69 w 79"/>
                <a:gd name="T11" fmla="*/ 0 h 23"/>
                <a:gd name="T12" fmla="*/ 74 w 79"/>
                <a:gd name="T13" fmla="*/ 1 h 23"/>
                <a:gd name="T14" fmla="*/ 77 w 79"/>
                <a:gd name="T15" fmla="*/ 2 h 23"/>
                <a:gd name="T16" fmla="*/ 79 w 79"/>
                <a:gd name="T17" fmla="*/ 4 h 23"/>
                <a:gd name="T18" fmla="*/ 77 w 79"/>
                <a:gd name="T19" fmla="*/ 8 h 23"/>
                <a:gd name="T20" fmla="*/ 75 w 79"/>
                <a:gd name="T21" fmla="*/ 13 h 23"/>
                <a:gd name="T22" fmla="*/ 72 w 79"/>
                <a:gd name="T23" fmla="*/ 16 h 23"/>
                <a:gd name="T24" fmla="*/ 68 w 79"/>
                <a:gd name="T25" fmla="*/ 19 h 23"/>
                <a:gd name="T26" fmla="*/ 64 w 79"/>
                <a:gd name="T27" fmla="*/ 21 h 23"/>
                <a:gd name="T28" fmla="*/ 59 w 79"/>
                <a:gd name="T29" fmla="*/ 22 h 23"/>
                <a:gd name="T30" fmla="*/ 53 w 79"/>
                <a:gd name="T31" fmla="*/ 23 h 23"/>
                <a:gd name="T32" fmla="*/ 46 w 79"/>
                <a:gd name="T33" fmla="*/ 23 h 23"/>
                <a:gd name="T34" fmla="*/ 37 w 79"/>
                <a:gd name="T35" fmla="*/ 23 h 23"/>
                <a:gd name="T36" fmla="*/ 32 w 79"/>
                <a:gd name="T37" fmla="*/ 21 h 23"/>
                <a:gd name="T38" fmla="*/ 26 w 79"/>
                <a:gd name="T39" fmla="*/ 20 h 23"/>
                <a:gd name="T40" fmla="*/ 23 w 79"/>
                <a:gd name="T41" fmla="*/ 19 h 23"/>
                <a:gd name="T42" fmla="*/ 19 w 79"/>
                <a:gd name="T43" fmla="*/ 18 h 23"/>
                <a:gd name="T44" fmla="*/ 14 w 79"/>
                <a:gd name="T45" fmla="*/ 18 h 23"/>
                <a:gd name="T46" fmla="*/ 9 w 79"/>
                <a:gd name="T47" fmla="*/ 20 h 23"/>
                <a:gd name="T48" fmla="*/ 0 w 79"/>
                <a:gd name="T49" fmla="*/ 23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1" name="Freeform 170">
              <a:extLst>
                <a:ext uri="{FF2B5EF4-FFF2-40B4-BE49-F238E27FC236}">
                  <a16:creationId xmlns="" xmlns:a16="http://schemas.microsoft.com/office/drawing/2014/main" id="{ABB181A3-5DED-B548-A29D-46626276F282}"/>
                </a:ext>
              </a:extLst>
            </p:cNvPr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7331075" y="4919663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6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2" name="Line 171">
              <a:extLst>
                <a:ext uri="{FF2B5EF4-FFF2-40B4-BE49-F238E27FC236}">
                  <a16:creationId xmlns="" xmlns:a16="http://schemas.microsoft.com/office/drawing/2014/main" id="{52A0421A-FE1A-4748-A290-05D620AE1708}"/>
                </a:ext>
              </a:extLst>
            </p:cNvPr>
            <p:cNvSpPr>
              <a:spLocks noChangeShapeType="1"/>
            </p:cNvSpPr>
            <p:nvPr>
              <p:custDataLst>
                <p:tags r:id="rId98"/>
              </p:custDataLst>
            </p:nvPr>
          </p:nvSpPr>
          <p:spPr bwMode="auto">
            <a:xfrm flipV="1">
              <a:off x="7421563" y="4918075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3" name="Freeform 172">
              <a:extLst>
                <a:ext uri="{FF2B5EF4-FFF2-40B4-BE49-F238E27FC236}">
                  <a16:creationId xmlns="" xmlns:a16="http://schemas.microsoft.com/office/drawing/2014/main" id="{2E993465-A739-F543-B9D6-C72FE153F031}"/>
                </a:ext>
              </a:extLst>
            </p:cNvPr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7421563" y="4918075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 w 5"/>
                <a:gd name="T3" fmla="*/ 1 h 30"/>
                <a:gd name="T4" fmla="*/ 4 w 5"/>
                <a:gd name="T5" fmla="*/ 4 h 30"/>
                <a:gd name="T6" fmla="*/ 5 w 5"/>
                <a:gd name="T7" fmla="*/ 8 h 30"/>
                <a:gd name="T8" fmla="*/ 5 w 5"/>
                <a:gd name="T9" fmla="*/ 13 h 30"/>
                <a:gd name="T10" fmla="*/ 5 w 5"/>
                <a:gd name="T11" fmla="*/ 18 h 30"/>
                <a:gd name="T12" fmla="*/ 4 w 5"/>
                <a:gd name="T13" fmla="*/ 23 h 30"/>
                <a:gd name="T14" fmla="*/ 2 w 5"/>
                <a:gd name="T15" fmla="*/ 27 h 30"/>
                <a:gd name="T16" fmla="*/ 0 w 5"/>
                <a:gd name="T17" fmla="*/ 3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4" name="Freeform 173">
              <a:extLst>
                <a:ext uri="{FF2B5EF4-FFF2-40B4-BE49-F238E27FC236}">
                  <a16:creationId xmlns="" xmlns:a16="http://schemas.microsoft.com/office/drawing/2014/main" id="{FDE38FB2-115B-6247-9CE4-C0689E72653E}"/>
                </a:ext>
              </a:extLst>
            </p:cNvPr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7720013" y="4387850"/>
              <a:ext cx="22225" cy="28575"/>
            </a:xfrm>
            <a:custGeom>
              <a:avLst/>
              <a:gdLst>
                <a:gd name="T0" fmla="*/ 0 w 53"/>
                <a:gd name="T1" fmla="*/ 12 h 55"/>
                <a:gd name="T2" fmla="*/ 1 w 53"/>
                <a:gd name="T3" fmla="*/ 17 h 55"/>
                <a:gd name="T4" fmla="*/ 5 w 53"/>
                <a:gd name="T5" fmla="*/ 22 h 55"/>
                <a:gd name="T6" fmla="*/ 9 w 53"/>
                <a:gd name="T7" fmla="*/ 27 h 55"/>
                <a:gd name="T8" fmla="*/ 15 w 53"/>
                <a:gd name="T9" fmla="*/ 33 h 55"/>
                <a:gd name="T10" fmla="*/ 26 w 53"/>
                <a:gd name="T11" fmla="*/ 44 h 55"/>
                <a:gd name="T12" fmla="*/ 33 w 53"/>
                <a:gd name="T13" fmla="*/ 55 h 55"/>
                <a:gd name="T14" fmla="*/ 53 w 53"/>
                <a:gd name="T15" fmla="*/ 55 h 55"/>
                <a:gd name="T16" fmla="*/ 40 w 53"/>
                <a:gd name="T17" fmla="*/ 41 h 55"/>
                <a:gd name="T18" fmla="*/ 28 w 53"/>
                <a:gd name="T19" fmla="*/ 29 h 55"/>
                <a:gd name="T20" fmla="*/ 23 w 53"/>
                <a:gd name="T21" fmla="*/ 23 h 55"/>
                <a:gd name="T22" fmla="*/ 19 w 53"/>
                <a:gd name="T23" fmla="*/ 16 h 55"/>
                <a:gd name="T24" fmla="*/ 16 w 53"/>
                <a:gd name="T25" fmla="*/ 8 h 55"/>
                <a:gd name="T26" fmla="*/ 14 w 53"/>
                <a:gd name="T27" fmla="*/ 0 h 55"/>
                <a:gd name="T28" fmla="*/ 7 w 53"/>
                <a:gd name="T29" fmla="*/ 6 h 55"/>
                <a:gd name="T30" fmla="*/ 0 w 53"/>
                <a:gd name="T31" fmla="*/ 12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5" name="Freeform 174">
              <a:extLst>
                <a:ext uri="{FF2B5EF4-FFF2-40B4-BE49-F238E27FC236}">
                  <a16:creationId xmlns="" xmlns:a16="http://schemas.microsoft.com/office/drawing/2014/main" id="{D57E39CA-20D5-534B-9FCB-EFA74A45E027}"/>
                </a:ext>
              </a:extLst>
            </p:cNvPr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7726363" y="4314825"/>
              <a:ext cx="26987" cy="39688"/>
            </a:xfrm>
            <a:custGeom>
              <a:avLst/>
              <a:gdLst>
                <a:gd name="T0" fmla="*/ 0 w 65"/>
                <a:gd name="T1" fmla="*/ 32 h 75"/>
                <a:gd name="T2" fmla="*/ 9 w 65"/>
                <a:gd name="T3" fmla="*/ 43 h 75"/>
                <a:gd name="T4" fmla="*/ 20 w 65"/>
                <a:gd name="T5" fmla="*/ 55 h 75"/>
                <a:gd name="T6" fmla="*/ 26 w 65"/>
                <a:gd name="T7" fmla="*/ 61 h 75"/>
                <a:gd name="T8" fmla="*/ 32 w 65"/>
                <a:gd name="T9" fmla="*/ 67 h 75"/>
                <a:gd name="T10" fmla="*/ 39 w 65"/>
                <a:gd name="T11" fmla="*/ 71 h 75"/>
                <a:gd name="T12" fmla="*/ 46 w 65"/>
                <a:gd name="T13" fmla="*/ 75 h 75"/>
                <a:gd name="T14" fmla="*/ 51 w 65"/>
                <a:gd name="T15" fmla="*/ 61 h 75"/>
                <a:gd name="T16" fmla="*/ 58 w 65"/>
                <a:gd name="T17" fmla="*/ 48 h 75"/>
                <a:gd name="T18" fmla="*/ 61 w 65"/>
                <a:gd name="T19" fmla="*/ 42 h 75"/>
                <a:gd name="T20" fmla="*/ 63 w 65"/>
                <a:gd name="T21" fmla="*/ 36 h 75"/>
                <a:gd name="T22" fmla="*/ 65 w 65"/>
                <a:gd name="T23" fmla="*/ 31 h 75"/>
                <a:gd name="T24" fmla="*/ 65 w 65"/>
                <a:gd name="T25" fmla="*/ 26 h 75"/>
                <a:gd name="T26" fmla="*/ 65 w 65"/>
                <a:gd name="T27" fmla="*/ 21 h 75"/>
                <a:gd name="T28" fmla="*/ 63 w 65"/>
                <a:gd name="T29" fmla="*/ 18 h 75"/>
                <a:gd name="T30" fmla="*/ 61 w 65"/>
                <a:gd name="T31" fmla="*/ 13 h 75"/>
                <a:gd name="T32" fmla="*/ 58 w 65"/>
                <a:gd name="T33" fmla="*/ 10 h 75"/>
                <a:gd name="T34" fmla="*/ 51 w 65"/>
                <a:gd name="T35" fmla="*/ 5 h 75"/>
                <a:gd name="T36" fmla="*/ 46 w 65"/>
                <a:gd name="T37" fmla="*/ 0 h 75"/>
                <a:gd name="T38" fmla="*/ 34 w 65"/>
                <a:gd name="T39" fmla="*/ 0 h 75"/>
                <a:gd name="T40" fmla="*/ 26 w 65"/>
                <a:gd name="T41" fmla="*/ 0 h 75"/>
                <a:gd name="T42" fmla="*/ 25 w 65"/>
                <a:gd name="T43" fmla="*/ 2 h 75"/>
                <a:gd name="T44" fmla="*/ 24 w 65"/>
                <a:gd name="T45" fmla="*/ 7 h 75"/>
                <a:gd name="T46" fmla="*/ 23 w 65"/>
                <a:gd name="T47" fmla="*/ 9 h 75"/>
                <a:gd name="T48" fmla="*/ 23 w 65"/>
                <a:gd name="T49" fmla="*/ 11 h 75"/>
                <a:gd name="T50" fmla="*/ 24 w 65"/>
                <a:gd name="T51" fmla="*/ 12 h 75"/>
                <a:gd name="T52" fmla="*/ 26 w 65"/>
                <a:gd name="T53" fmla="*/ 13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6" name="Freeform 175">
              <a:extLst>
                <a:ext uri="{FF2B5EF4-FFF2-40B4-BE49-F238E27FC236}">
                  <a16:creationId xmlns="" xmlns:a16="http://schemas.microsoft.com/office/drawing/2014/main" id="{F619AFCF-1EFC-5947-8190-CC18F7635743}"/>
                </a:ext>
              </a:extLst>
            </p:cNvPr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702550" y="4291013"/>
              <a:ext cx="17463" cy="30162"/>
            </a:xfrm>
            <a:custGeom>
              <a:avLst/>
              <a:gdLst>
                <a:gd name="T0" fmla="*/ 0 w 40"/>
                <a:gd name="T1" fmla="*/ 62 h 62"/>
                <a:gd name="T2" fmla="*/ 3 w 40"/>
                <a:gd name="T3" fmla="*/ 52 h 62"/>
                <a:gd name="T4" fmla="*/ 7 w 40"/>
                <a:gd name="T5" fmla="*/ 43 h 62"/>
                <a:gd name="T6" fmla="*/ 12 w 40"/>
                <a:gd name="T7" fmla="*/ 33 h 62"/>
                <a:gd name="T8" fmla="*/ 17 w 40"/>
                <a:gd name="T9" fmla="*/ 25 h 62"/>
                <a:gd name="T10" fmla="*/ 23 w 40"/>
                <a:gd name="T11" fmla="*/ 17 h 62"/>
                <a:gd name="T12" fmla="*/ 29 w 40"/>
                <a:gd name="T13" fmla="*/ 9 h 62"/>
                <a:gd name="T14" fmla="*/ 35 w 40"/>
                <a:gd name="T15" fmla="*/ 3 h 62"/>
                <a:gd name="T16" fmla="*/ 40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7" name="Freeform 176">
              <a:extLst>
                <a:ext uri="{FF2B5EF4-FFF2-40B4-BE49-F238E27FC236}">
                  <a16:creationId xmlns="" xmlns:a16="http://schemas.microsoft.com/office/drawing/2014/main" id="{B27F5433-B0A7-1D48-B711-665B5DF5F119}"/>
                </a:ext>
              </a:extLst>
            </p:cNvPr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621588" y="4168775"/>
              <a:ext cx="68262" cy="138113"/>
            </a:xfrm>
            <a:custGeom>
              <a:avLst/>
              <a:gdLst>
                <a:gd name="T0" fmla="*/ 159 w 159"/>
                <a:gd name="T1" fmla="*/ 259 h 259"/>
                <a:gd name="T2" fmla="*/ 159 w 159"/>
                <a:gd name="T3" fmla="*/ 251 h 259"/>
                <a:gd name="T4" fmla="*/ 159 w 159"/>
                <a:gd name="T5" fmla="*/ 244 h 259"/>
                <a:gd name="T6" fmla="*/ 159 w 159"/>
                <a:gd name="T7" fmla="*/ 236 h 259"/>
                <a:gd name="T8" fmla="*/ 159 w 159"/>
                <a:gd name="T9" fmla="*/ 228 h 259"/>
                <a:gd name="T10" fmla="*/ 159 w 159"/>
                <a:gd name="T11" fmla="*/ 224 h 259"/>
                <a:gd name="T12" fmla="*/ 158 w 159"/>
                <a:gd name="T13" fmla="*/ 219 h 259"/>
                <a:gd name="T14" fmla="*/ 156 w 159"/>
                <a:gd name="T15" fmla="*/ 215 h 259"/>
                <a:gd name="T16" fmla="*/ 153 w 159"/>
                <a:gd name="T17" fmla="*/ 210 h 259"/>
                <a:gd name="T18" fmla="*/ 145 w 159"/>
                <a:gd name="T19" fmla="*/ 202 h 259"/>
                <a:gd name="T20" fmla="*/ 135 w 159"/>
                <a:gd name="T21" fmla="*/ 195 h 259"/>
                <a:gd name="T22" fmla="*/ 124 w 159"/>
                <a:gd name="T23" fmla="*/ 189 h 259"/>
                <a:gd name="T24" fmla="*/ 112 w 159"/>
                <a:gd name="T25" fmla="*/ 184 h 259"/>
                <a:gd name="T26" fmla="*/ 99 w 159"/>
                <a:gd name="T27" fmla="*/ 180 h 259"/>
                <a:gd name="T28" fmla="*/ 87 w 159"/>
                <a:gd name="T29" fmla="*/ 179 h 259"/>
                <a:gd name="T30" fmla="*/ 85 w 159"/>
                <a:gd name="T31" fmla="*/ 178 h 259"/>
                <a:gd name="T32" fmla="*/ 82 w 159"/>
                <a:gd name="T33" fmla="*/ 177 h 259"/>
                <a:gd name="T34" fmla="*/ 81 w 159"/>
                <a:gd name="T35" fmla="*/ 175 h 259"/>
                <a:gd name="T36" fmla="*/ 80 w 159"/>
                <a:gd name="T37" fmla="*/ 173 h 259"/>
                <a:gd name="T38" fmla="*/ 80 w 159"/>
                <a:gd name="T39" fmla="*/ 167 h 259"/>
                <a:gd name="T40" fmla="*/ 81 w 159"/>
                <a:gd name="T41" fmla="*/ 161 h 259"/>
                <a:gd name="T42" fmla="*/ 85 w 159"/>
                <a:gd name="T43" fmla="*/ 148 h 259"/>
                <a:gd name="T44" fmla="*/ 87 w 159"/>
                <a:gd name="T45" fmla="*/ 142 h 259"/>
                <a:gd name="T46" fmla="*/ 73 w 159"/>
                <a:gd name="T47" fmla="*/ 141 h 259"/>
                <a:gd name="T48" fmla="*/ 59 w 159"/>
                <a:gd name="T49" fmla="*/ 139 h 259"/>
                <a:gd name="T50" fmla="*/ 48 w 159"/>
                <a:gd name="T51" fmla="*/ 135 h 259"/>
                <a:gd name="T52" fmla="*/ 40 w 159"/>
                <a:gd name="T53" fmla="*/ 129 h 259"/>
                <a:gd name="T54" fmla="*/ 31 w 159"/>
                <a:gd name="T55" fmla="*/ 121 h 259"/>
                <a:gd name="T56" fmla="*/ 24 w 159"/>
                <a:gd name="T57" fmla="*/ 113 h 259"/>
                <a:gd name="T58" fmla="*/ 18 w 159"/>
                <a:gd name="T59" fmla="*/ 104 h 259"/>
                <a:gd name="T60" fmla="*/ 13 w 159"/>
                <a:gd name="T61" fmla="*/ 94 h 259"/>
                <a:gd name="T62" fmla="*/ 9 w 159"/>
                <a:gd name="T63" fmla="*/ 84 h 259"/>
                <a:gd name="T64" fmla="*/ 7 w 159"/>
                <a:gd name="T65" fmla="*/ 73 h 259"/>
                <a:gd name="T66" fmla="*/ 5 w 159"/>
                <a:gd name="T67" fmla="*/ 60 h 259"/>
                <a:gd name="T68" fmla="*/ 2 w 159"/>
                <a:gd name="T69" fmla="*/ 48 h 259"/>
                <a:gd name="T70" fmla="*/ 0 w 159"/>
                <a:gd name="T71" fmla="*/ 25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98" name="Line 177">
              <a:extLst>
                <a:ext uri="{FF2B5EF4-FFF2-40B4-BE49-F238E27FC236}">
                  <a16:creationId xmlns="" xmlns:a16="http://schemas.microsoft.com/office/drawing/2014/main" id="{927ACFA1-95CE-0045-B505-B4C01F3DC662}"/>
                </a:ext>
              </a:extLst>
            </p:cNvPr>
            <p:cNvSpPr>
              <a:spLocks noChangeShapeType="1"/>
            </p:cNvSpPr>
            <p:nvPr>
              <p:custDataLst>
                <p:tags r:id="rId104"/>
              </p:custDataLst>
            </p:nvPr>
          </p:nvSpPr>
          <p:spPr bwMode="auto">
            <a:xfrm flipH="1" flipV="1">
              <a:off x="7615238" y="4135438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99" name="Freeform 178">
              <a:extLst>
                <a:ext uri="{FF2B5EF4-FFF2-40B4-BE49-F238E27FC236}">
                  <a16:creationId xmlns="" xmlns:a16="http://schemas.microsoft.com/office/drawing/2014/main" id="{CCF5265D-20AD-8146-915F-FEE051C795A7}"/>
                </a:ext>
              </a:extLst>
            </p:cNvPr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7615238" y="4119563"/>
              <a:ext cx="6350" cy="15875"/>
            </a:xfrm>
            <a:custGeom>
              <a:avLst/>
              <a:gdLst>
                <a:gd name="T0" fmla="*/ 0 w 13"/>
                <a:gd name="T1" fmla="*/ 25 h 25"/>
                <a:gd name="T2" fmla="*/ 1 w 13"/>
                <a:gd name="T3" fmla="*/ 19 h 25"/>
                <a:gd name="T4" fmla="*/ 4 w 13"/>
                <a:gd name="T5" fmla="*/ 13 h 25"/>
                <a:gd name="T6" fmla="*/ 8 w 13"/>
                <a:gd name="T7" fmla="*/ 6 h 25"/>
                <a:gd name="T8" fmla="*/ 13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0" name="Line 179">
              <a:extLst>
                <a:ext uri="{FF2B5EF4-FFF2-40B4-BE49-F238E27FC236}">
                  <a16:creationId xmlns="" xmlns:a16="http://schemas.microsoft.com/office/drawing/2014/main" id="{D0426405-FF63-494F-82C6-81AAD301A67D}"/>
                </a:ext>
              </a:extLst>
            </p:cNvPr>
            <p:cNvSpPr>
              <a:spLocks noChangeShapeType="1"/>
            </p:cNvSpPr>
            <p:nvPr>
              <p:custDataLst>
                <p:tags r:id="rId106"/>
              </p:custDataLst>
            </p:nvPr>
          </p:nvSpPr>
          <p:spPr bwMode="auto">
            <a:xfrm flipV="1">
              <a:off x="7621588" y="4106863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1" name="Freeform 180">
              <a:extLst>
                <a:ext uri="{FF2B5EF4-FFF2-40B4-BE49-F238E27FC236}">
                  <a16:creationId xmlns="" xmlns:a16="http://schemas.microsoft.com/office/drawing/2014/main" id="{43B55A70-13BE-9C47-8F90-49BED0C7884E}"/>
                </a:ext>
              </a:extLst>
            </p:cNvPr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7575550" y="4040188"/>
              <a:ext cx="46038" cy="66675"/>
            </a:xfrm>
            <a:custGeom>
              <a:avLst/>
              <a:gdLst>
                <a:gd name="T0" fmla="*/ 100 w 100"/>
                <a:gd name="T1" fmla="*/ 123 h 123"/>
                <a:gd name="T2" fmla="*/ 90 w 100"/>
                <a:gd name="T3" fmla="*/ 122 h 123"/>
                <a:gd name="T4" fmla="*/ 76 w 100"/>
                <a:gd name="T5" fmla="*/ 119 h 123"/>
                <a:gd name="T6" fmla="*/ 60 w 100"/>
                <a:gd name="T7" fmla="*/ 114 h 123"/>
                <a:gd name="T8" fmla="*/ 43 w 100"/>
                <a:gd name="T9" fmla="*/ 107 h 123"/>
                <a:gd name="T10" fmla="*/ 34 w 100"/>
                <a:gd name="T11" fmla="*/ 103 h 123"/>
                <a:gd name="T12" fmla="*/ 27 w 100"/>
                <a:gd name="T13" fmla="*/ 99 h 123"/>
                <a:gd name="T14" fmla="*/ 20 w 100"/>
                <a:gd name="T15" fmla="*/ 94 h 123"/>
                <a:gd name="T16" fmla="*/ 13 w 100"/>
                <a:gd name="T17" fmla="*/ 89 h 123"/>
                <a:gd name="T18" fmla="*/ 8 w 100"/>
                <a:gd name="T19" fmla="*/ 84 h 123"/>
                <a:gd name="T20" fmla="*/ 4 w 100"/>
                <a:gd name="T21" fmla="*/ 79 h 123"/>
                <a:gd name="T22" fmla="*/ 1 w 100"/>
                <a:gd name="T23" fmla="*/ 73 h 123"/>
                <a:gd name="T24" fmla="*/ 0 w 100"/>
                <a:gd name="T25" fmla="*/ 68 h 123"/>
                <a:gd name="T26" fmla="*/ 2 w 100"/>
                <a:gd name="T27" fmla="*/ 55 h 123"/>
                <a:gd name="T28" fmla="*/ 7 w 100"/>
                <a:gd name="T29" fmla="*/ 36 h 123"/>
                <a:gd name="T30" fmla="*/ 11 w 100"/>
                <a:gd name="T31" fmla="*/ 17 h 123"/>
                <a:gd name="T32" fmla="*/ 13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2" name="Freeform 181">
              <a:extLst>
                <a:ext uri="{FF2B5EF4-FFF2-40B4-BE49-F238E27FC236}">
                  <a16:creationId xmlns="" xmlns:a16="http://schemas.microsoft.com/office/drawing/2014/main" id="{D07486D2-B282-AA42-B5BF-417762DD746B}"/>
                </a:ext>
              </a:extLst>
            </p:cNvPr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7589838" y="3983038"/>
              <a:ext cx="1587" cy="50800"/>
            </a:xfrm>
            <a:custGeom>
              <a:avLst/>
              <a:gdLst>
                <a:gd name="T0" fmla="*/ 5 w 5"/>
                <a:gd name="T1" fmla="*/ 0 h 99"/>
                <a:gd name="T2" fmla="*/ 4 w 5"/>
                <a:gd name="T3" fmla="*/ 34 h 99"/>
                <a:gd name="T4" fmla="*/ 1 w 5"/>
                <a:gd name="T5" fmla="*/ 59 h 99"/>
                <a:gd name="T6" fmla="*/ 0 w 5"/>
                <a:gd name="T7" fmla="*/ 69 h 99"/>
                <a:gd name="T8" fmla="*/ 0 w 5"/>
                <a:gd name="T9" fmla="*/ 78 h 99"/>
                <a:gd name="T10" fmla="*/ 2 w 5"/>
                <a:gd name="T11" fmla="*/ 87 h 99"/>
                <a:gd name="T12" fmla="*/ 5 w 5"/>
                <a:gd name="T13" fmla="*/ 99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3" name="Freeform 182">
              <a:extLst>
                <a:ext uri="{FF2B5EF4-FFF2-40B4-BE49-F238E27FC236}">
                  <a16:creationId xmlns="" xmlns:a16="http://schemas.microsoft.com/office/drawing/2014/main" id="{0962470C-0522-FA4C-AC84-246B18F48EA3}"/>
                </a:ext>
              </a:extLst>
            </p:cNvPr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7596188" y="3976688"/>
              <a:ext cx="7937" cy="36512"/>
            </a:xfrm>
            <a:custGeom>
              <a:avLst/>
              <a:gdLst>
                <a:gd name="T0" fmla="*/ 14 w 14"/>
                <a:gd name="T1" fmla="*/ 0 h 68"/>
                <a:gd name="T2" fmla="*/ 8 w 14"/>
                <a:gd name="T3" fmla="*/ 16 h 68"/>
                <a:gd name="T4" fmla="*/ 4 w 14"/>
                <a:gd name="T5" fmla="*/ 33 h 68"/>
                <a:gd name="T6" fmla="*/ 2 w 14"/>
                <a:gd name="T7" fmla="*/ 52 h 68"/>
                <a:gd name="T8" fmla="*/ 0 w 14"/>
                <a:gd name="T9" fmla="*/ 68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4" name="Freeform 183">
              <a:extLst>
                <a:ext uri="{FF2B5EF4-FFF2-40B4-BE49-F238E27FC236}">
                  <a16:creationId xmlns="" xmlns:a16="http://schemas.microsoft.com/office/drawing/2014/main" id="{DE1EEDD8-31BD-AC4E-81BF-4D5069A69366}"/>
                </a:ext>
              </a:extLst>
            </p:cNvPr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7612063" y="3957638"/>
              <a:ext cx="1587" cy="22225"/>
            </a:xfrm>
            <a:custGeom>
              <a:avLst/>
              <a:gdLst>
                <a:gd name="T0" fmla="*/ 0 w 1587"/>
                <a:gd name="T1" fmla="*/ 0 h 43"/>
                <a:gd name="T2" fmla="*/ 0 w 1587"/>
                <a:gd name="T3" fmla="*/ 13 h 43"/>
                <a:gd name="T4" fmla="*/ 0 w 1587"/>
                <a:gd name="T5" fmla="*/ 26 h 43"/>
                <a:gd name="T6" fmla="*/ 0 w 1587"/>
                <a:gd name="T7" fmla="*/ 37 h 43"/>
                <a:gd name="T8" fmla="*/ 0 w 1587"/>
                <a:gd name="T9" fmla="*/ 43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5" name="Line 184">
              <a:extLst>
                <a:ext uri="{FF2B5EF4-FFF2-40B4-BE49-F238E27FC236}">
                  <a16:creationId xmlns="" xmlns:a16="http://schemas.microsoft.com/office/drawing/2014/main" id="{DE8C6C07-6976-A24B-BC49-26E3B49EAFA1}"/>
                </a:ext>
              </a:extLst>
            </p:cNvPr>
            <p:cNvSpPr>
              <a:spLocks noChangeShapeType="1"/>
            </p:cNvSpPr>
            <p:nvPr>
              <p:custDataLst>
                <p:tags r:id="rId111"/>
              </p:custDataLst>
            </p:nvPr>
          </p:nvSpPr>
          <p:spPr bwMode="auto">
            <a:xfrm flipV="1">
              <a:off x="7612063" y="3976688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6" name="Freeform 185">
              <a:extLst>
                <a:ext uri="{FF2B5EF4-FFF2-40B4-BE49-F238E27FC236}">
                  <a16:creationId xmlns="" xmlns:a16="http://schemas.microsoft.com/office/drawing/2014/main" id="{6AC084E8-4C56-A24B-971E-512B57088F98}"/>
                </a:ext>
              </a:extLst>
            </p:cNvPr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7596188" y="3960813"/>
              <a:ext cx="1587" cy="15875"/>
            </a:xfrm>
            <a:custGeom>
              <a:avLst/>
              <a:gdLst>
                <a:gd name="T0" fmla="*/ 0 w 1587"/>
                <a:gd name="T1" fmla="*/ 31 h 31"/>
                <a:gd name="T2" fmla="*/ 0 w 1587"/>
                <a:gd name="T3" fmla="*/ 22 h 31"/>
                <a:gd name="T4" fmla="*/ 0 w 1587"/>
                <a:gd name="T5" fmla="*/ 15 h 31"/>
                <a:gd name="T6" fmla="*/ 0 w 1587"/>
                <a:gd name="T7" fmla="*/ 8 h 31"/>
                <a:gd name="T8" fmla="*/ 0 w 158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7"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7" name="Freeform 186">
              <a:extLst>
                <a:ext uri="{FF2B5EF4-FFF2-40B4-BE49-F238E27FC236}">
                  <a16:creationId xmlns="" xmlns:a16="http://schemas.microsoft.com/office/drawing/2014/main" id="{E9BF1B91-25DE-F54D-A103-D9942FCD1A94}"/>
                </a:ext>
              </a:extLst>
            </p:cNvPr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7316788" y="4949825"/>
              <a:ext cx="96837" cy="87313"/>
            </a:xfrm>
            <a:custGeom>
              <a:avLst/>
              <a:gdLst>
                <a:gd name="T0" fmla="*/ 19 w 225"/>
                <a:gd name="T1" fmla="*/ 158 h 167"/>
                <a:gd name="T2" fmla="*/ 7 w 225"/>
                <a:gd name="T3" fmla="*/ 142 h 167"/>
                <a:gd name="T4" fmla="*/ 0 w 225"/>
                <a:gd name="T5" fmla="*/ 130 h 167"/>
                <a:gd name="T6" fmla="*/ 1 w 225"/>
                <a:gd name="T7" fmla="*/ 108 h 167"/>
                <a:gd name="T8" fmla="*/ 11 w 225"/>
                <a:gd name="T9" fmla="*/ 68 h 167"/>
                <a:gd name="T10" fmla="*/ 24 w 225"/>
                <a:gd name="T11" fmla="*/ 39 h 167"/>
                <a:gd name="T12" fmla="*/ 34 w 225"/>
                <a:gd name="T13" fmla="*/ 21 h 167"/>
                <a:gd name="T14" fmla="*/ 44 w 225"/>
                <a:gd name="T15" fmla="*/ 9 h 167"/>
                <a:gd name="T16" fmla="*/ 54 w 225"/>
                <a:gd name="T17" fmla="*/ 1 h 167"/>
                <a:gd name="T18" fmla="*/ 65 w 225"/>
                <a:gd name="T19" fmla="*/ 1 h 167"/>
                <a:gd name="T20" fmla="*/ 76 w 225"/>
                <a:gd name="T21" fmla="*/ 3 h 167"/>
                <a:gd name="T22" fmla="*/ 88 w 225"/>
                <a:gd name="T23" fmla="*/ 8 h 167"/>
                <a:gd name="T24" fmla="*/ 100 w 225"/>
                <a:gd name="T25" fmla="*/ 17 h 167"/>
                <a:gd name="T26" fmla="*/ 112 w 225"/>
                <a:gd name="T27" fmla="*/ 24 h 167"/>
                <a:gd name="T28" fmla="*/ 128 w 225"/>
                <a:gd name="T29" fmla="*/ 24 h 167"/>
                <a:gd name="T30" fmla="*/ 145 w 225"/>
                <a:gd name="T31" fmla="*/ 19 h 167"/>
                <a:gd name="T32" fmla="*/ 165 w 225"/>
                <a:gd name="T33" fmla="*/ 7 h 167"/>
                <a:gd name="T34" fmla="*/ 225 w 225"/>
                <a:gd name="T35" fmla="*/ 0 h 167"/>
                <a:gd name="T36" fmla="*/ 215 w 225"/>
                <a:gd name="T37" fmla="*/ 22 h 167"/>
                <a:gd name="T38" fmla="*/ 201 w 225"/>
                <a:gd name="T39" fmla="*/ 41 h 167"/>
                <a:gd name="T40" fmla="*/ 168 w 225"/>
                <a:gd name="T41" fmla="*/ 72 h 167"/>
                <a:gd name="T42" fmla="*/ 138 w 225"/>
                <a:gd name="T43" fmla="*/ 100 h 167"/>
                <a:gd name="T44" fmla="*/ 129 w 225"/>
                <a:gd name="T45" fmla="*/ 114 h 167"/>
                <a:gd name="T46" fmla="*/ 126 w 225"/>
                <a:gd name="T47" fmla="*/ 130 h 167"/>
                <a:gd name="T48" fmla="*/ 123 w 225"/>
                <a:gd name="T49" fmla="*/ 126 h 167"/>
                <a:gd name="T50" fmla="*/ 120 w 225"/>
                <a:gd name="T51" fmla="*/ 117 h 167"/>
                <a:gd name="T52" fmla="*/ 106 w 225"/>
                <a:gd name="T53" fmla="*/ 121 h 167"/>
                <a:gd name="T54" fmla="*/ 97 w 225"/>
                <a:gd name="T55" fmla="*/ 128 h 167"/>
                <a:gd name="T56" fmla="*/ 80 w 225"/>
                <a:gd name="T57" fmla="*/ 145 h 167"/>
                <a:gd name="T58" fmla="*/ 71 w 225"/>
                <a:gd name="T59" fmla="*/ 153 h 167"/>
                <a:gd name="T60" fmla="*/ 60 w 225"/>
                <a:gd name="T61" fmla="*/ 160 h 167"/>
                <a:gd name="T62" fmla="*/ 46 w 225"/>
                <a:gd name="T63" fmla="*/ 165 h 167"/>
                <a:gd name="T64" fmla="*/ 26 w 225"/>
                <a:gd name="T65" fmla="*/ 16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" name="Freeform 187">
              <a:extLst>
                <a:ext uri="{FF2B5EF4-FFF2-40B4-BE49-F238E27FC236}">
                  <a16:creationId xmlns="" xmlns:a16="http://schemas.microsoft.com/office/drawing/2014/main" id="{6E6BA0DF-DFDF-E34B-97D7-9062DB219CB5}"/>
                </a:ext>
              </a:extLst>
            </p:cNvPr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7454900" y="4168775"/>
              <a:ext cx="3175" cy="17463"/>
            </a:xfrm>
            <a:custGeom>
              <a:avLst/>
              <a:gdLst>
                <a:gd name="T0" fmla="*/ 0 w 7"/>
                <a:gd name="T1" fmla="*/ 31 h 31"/>
                <a:gd name="T2" fmla="*/ 5 w 7"/>
                <a:gd name="T3" fmla="*/ 22 h 31"/>
                <a:gd name="T4" fmla="*/ 6 w 7"/>
                <a:gd name="T5" fmla="*/ 13 h 31"/>
                <a:gd name="T6" fmla="*/ 7 w 7"/>
                <a:gd name="T7" fmla="*/ 6 h 31"/>
                <a:gd name="T8" fmla="*/ 7 w 7"/>
                <a:gd name="T9" fmla="*/ 0 h 31"/>
                <a:gd name="T10" fmla="*/ 6 w 7"/>
                <a:gd name="T11" fmla="*/ 6 h 31"/>
                <a:gd name="T12" fmla="*/ 4 w 7"/>
                <a:gd name="T13" fmla="*/ 13 h 31"/>
                <a:gd name="T14" fmla="*/ 1 w 7"/>
                <a:gd name="T15" fmla="*/ 22 h 31"/>
                <a:gd name="T16" fmla="*/ 0 w 7"/>
                <a:gd name="T17" fmla="*/ 31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9" name="Freeform 188">
              <a:extLst>
                <a:ext uri="{FF2B5EF4-FFF2-40B4-BE49-F238E27FC236}">
                  <a16:creationId xmlns="" xmlns:a16="http://schemas.microsoft.com/office/drawing/2014/main" id="{5CC5823C-25DB-F94E-A7F7-CC9DE3E1827B}"/>
                </a:ext>
              </a:extLst>
            </p:cNvPr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7388225" y="4090988"/>
              <a:ext cx="15875" cy="15875"/>
            </a:xfrm>
            <a:custGeom>
              <a:avLst/>
              <a:gdLst>
                <a:gd name="T0" fmla="*/ 33 w 33"/>
                <a:gd name="T1" fmla="*/ 31 h 31"/>
                <a:gd name="T2" fmla="*/ 33 w 33"/>
                <a:gd name="T3" fmla="*/ 0 h 31"/>
                <a:gd name="T4" fmla="*/ 27 w 33"/>
                <a:gd name="T5" fmla="*/ 0 h 31"/>
                <a:gd name="T6" fmla="*/ 22 w 33"/>
                <a:gd name="T7" fmla="*/ 2 h 31"/>
                <a:gd name="T8" fmla="*/ 16 w 33"/>
                <a:gd name="T9" fmla="*/ 5 h 31"/>
                <a:gd name="T10" fmla="*/ 11 w 33"/>
                <a:gd name="T11" fmla="*/ 8 h 31"/>
                <a:gd name="T12" fmla="*/ 6 w 33"/>
                <a:gd name="T13" fmla="*/ 12 h 31"/>
                <a:gd name="T14" fmla="*/ 3 w 33"/>
                <a:gd name="T15" fmla="*/ 16 h 31"/>
                <a:gd name="T16" fmla="*/ 1 w 33"/>
                <a:gd name="T17" fmla="*/ 21 h 31"/>
                <a:gd name="T18" fmla="*/ 0 w 33"/>
                <a:gd name="T19" fmla="*/ 25 h 31"/>
                <a:gd name="T20" fmla="*/ 1 w 33"/>
                <a:gd name="T21" fmla="*/ 27 h 31"/>
                <a:gd name="T22" fmla="*/ 3 w 33"/>
                <a:gd name="T23" fmla="*/ 29 h 31"/>
                <a:gd name="T24" fmla="*/ 6 w 33"/>
                <a:gd name="T25" fmla="*/ 30 h 31"/>
                <a:gd name="T26" fmla="*/ 11 w 33"/>
                <a:gd name="T27" fmla="*/ 30 h 31"/>
                <a:gd name="T28" fmla="*/ 22 w 33"/>
                <a:gd name="T29" fmla="*/ 31 h 31"/>
                <a:gd name="T30" fmla="*/ 33 w 33"/>
                <a:gd name="T31" fmla="*/ 31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" name="Freeform 189">
              <a:extLst>
                <a:ext uri="{FF2B5EF4-FFF2-40B4-BE49-F238E27FC236}">
                  <a16:creationId xmlns="" xmlns:a16="http://schemas.microsoft.com/office/drawing/2014/main" id="{322A0706-9631-A74D-9A8E-0D125BFFB4E6}"/>
                </a:ext>
              </a:extLst>
            </p:cNvPr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7404100" y="4003675"/>
              <a:ext cx="3175" cy="9525"/>
            </a:xfrm>
            <a:custGeom>
              <a:avLst/>
              <a:gdLst>
                <a:gd name="T0" fmla="*/ 0 w 13"/>
                <a:gd name="T1" fmla="*/ 19 h 19"/>
                <a:gd name="T2" fmla="*/ 2 w 13"/>
                <a:gd name="T3" fmla="*/ 18 h 19"/>
                <a:gd name="T4" fmla="*/ 5 w 13"/>
                <a:gd name="T5" fmla="*/ 17 h 19"/>
                <a:gd name="T6" fmla="*/ 7 w 13"/>
                <a:gd name="T7" fmla="*/ 15 h 19"/>
                <a:gd name="T8" fmla="*/ 8 w 13"/>
                <a:gd name="T9" fmla="*/ 12 h 19"/>
                <a:gd name="T10" fmla="*/ 12 w 13"/>
                <a:gd name="T11" fmla="*/ 6 h 19"/>
                <a:gd name="T12" fmla="*/ 13 w 13"/>
                <a:gd name="T13" fmla="*/ 0 h 19"/>
                <a:gd name="T14" fmla="*/ 0 w 13"/>
                <a:gd name="T15" fmla="*/ 19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" name="Freeform 190">
              <a:extLst>
                <a:ext uri="{FF2B5EF4-FFF2-40B4-BE49-F238E27FC236}">
                  <a16:creationId xmlns="" xmlns:a16="http://schemas.microsoft.com/office/drawing/2014/main" id="{B464BB0D-9E13-7744-BCD6-DC780CBF3ADD}"/>
                </a:ext>
              </a:extLst>
            </p:cNvPr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7243763" y="4006850"/>
              <a:ext cx="36512" cy="22225"/>
            </a:xfrm>
            <a:custGeom>
              <a:avLst/>
              <a:gdLst>
                <a:gd name="T0" fmla="*/ 54 w 87"/>
                <a:gd name="T1" fmla="*/ 42 h 42"/>
                <a:gd name="T2" fmla="*/ 59 w 87"/>
                <a:gd name="T3" fmla="*/ 42 h 42"/>
                <a:gd name="T4" fmla="*/ 64 w 87"/>
                <a:gd name="T5" fmla="*/ 41 h 42"/>
                <a:gd name="T6" fmla="*/ 68 w 87"/>
                <a:gd name="T7" fmla="*/ 40 h 42"/>
                <a:gd name="T8" fmla="*/ 71 w 87"/>
                <a:gd name="T9" fmla="*/ 38 h 42"/>
                <a:gd name="T10" fmla="*/ 75 w 87"/>
                <a:gd name="T11" fmla="*/ 34 h 42"/>
                <a:gd name="T12" fmla="*/ 78 w 87"/>
                <a:gd name="T13" fmla="*/ 28 h 42"/>
                <a:gd name="T14" fmla="*/ 79 w 87"/>
                <a:gd name="T15" fmla="*/ 22 h 42"/>
                <a:gd name="T16" fmla="*/ 80 w 87"/>
                <a:gd name="T17" fmla="*/ 16 h 42"/>
                <a:gd name="T18" fmla="*/ 82 w 87"/>
                <a:gd name="T19" fmla="*/ 11 h 42"/>
                <a:gd name="T20" fmla="*/ 87 w 87"/>
                <a:gd name="T21" fmla="*/ 6 h 42"/>
                <a:gd name="T22" fmla="*/ 77 w 87"/>
                <a:gd name="T23" fmla="*/ 2 h 42"/>
                <a:gd name="T24" fmla="*/ 67 w 87"/>
                <a:gd name="T25" fmla="*/ 0 h 42"/>
                <a:gd name="T26" fmla="*/ 57 w 87"/>
                <a:gd name="T27" fmla="*/ 0 h 42"/>
                <a:gd name="T28" fmla="*/ 47 w 87"/>
                <a:gd name="T29" fmla="*/ 0 h 42"/>
                <a:gd name="T30" fmla="*/ 40 w 87"/>
                <a:gd name="T31" fmla="*/ 0 h 42"/>
                <a:gd name="T32" fmla="*/ 32 w 87"/>
                <a:gd name="T33" fmla="*/ 2 h 42"/>
                <a:gd name="T34" fmla="*/ 25 w 87"/>
                <a:gd name="T35" fmla="*/ 4 h 42"/>
                <a:gd name="T36" fmla="*/ 19 w 87"/>
                <a:gd name="T37" fmla="*/ 6 h 42"/>
                <a:gd name="T38" fmla="*/ 8 w 87"/>
                <a:gd name="T39" fmla="*/ 12 h 42"/>
                <a:gd name="T40" fmla="*/ 0 w 87"/>
                <a:gd name="T41" fmla="*/ 18 h 42"/>
                <a:gd name="T42" fmla="*/ 11 w 87"/>
                <a:gd name="T43" fmla="*/ 24 h 42"/>
                <a:gd name="T44" fmla="*/ 27 w 87"/>
                <a:gd name="T45" fmla="*/ 32 h 42"/>
                <a:gd name="T46" fmla="*/ 43 w 87"/>
                <a:gd name="T47" fmla="*/ 39 h 42"/>
                <a:gd name="T48" fmla="*/ 54 w 87"/>
                <a:gd name="T49" fmla="*/ 42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2" name="Freeform 191">
              <a:extLst>
                <a:ext uri="{FF2B5EF4-FFF2-40B4-BE49-F238E27FC236}">
                  <a16:creationId xmlns="" xmlns:a16="http://schemas.microsoft.com/office/drawing/2014/main" id="{B893D6DE-8E50-4B4D-B62D-D09E1909CE86}"/>
                </a:ext>
              </a:extLst>
            </p:cNvPr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7488238" y="4470400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7 w 7"/>
                <a:gd name="T3" fmla="*/ 0 h 31"/>
                <a:gd name="T4" fmla="*/ 7 w 7"/>
                <a:gd name="T5" fmla="*/ 18 h 31"/>
                <a:gd name="T6" fmla="*/ 0 w 7"/>
                <a:gd name="T7" fmla="*/ 31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3" name="Freeform 192">
              <a:extLst>
                <a:ext uri="{FF2B5EF4-FFF2-40B4-BE49-F238E27FC236}">
                  <a16:creationId xmlns="" xmlns:a16="http://schemas.microsoft.com/office/drawing/2014/main" id="{A1B80B7F-DAB2-B849-8FF1-AC768AA1F1E0}"/>
                </a:ext>
              </a:extLst>
            </p:cNvPr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6724650" y="3976688"/>
              <a:ext cx="1019175" cy="908050"/>
            </a:xfrm>
            <a:custGeom>
              <a:avLst/>
              <a:gdLst>
                <a:gd name="T0" fmla="*/ 214 w 2332"/>
                <a:gd name="T1" fmla="*/ 707 h 1731"/>
                <a:gd name="T2" fmla="*/ 325 w 2332"/>
                <a:gd name="T3" fmla="*/ 649 h 1731"/>
                <a:gd name="T4" fmla="*/ 435 w 2332"/>
                <a:gd name="T5" fmla="*/ 606 h 1731"/>
                <a:gd name="T6" fmla="*/ 605 w 2332"/>
                <a:gd name="T7" fmla="*/ 570 h 1731"/>
                <a:gd name="T8" fmla="*/ 677 w 2332"/>
                <a:gd name="T9" fmla="*/ 437 h 1731"/>
                <a:gd name="T10" fmla="*/ 758 w 2332"/>
                <a:gd name="T11" fmla="*/ 439 h 1731"/>
                <a:gd name="T12" fmla="*/ 784 w 2332"/>
                <a:gd name="T13" fmla="*/ 363 h 1731"/>
                <a:gd name="T14" fmla="*/ 866 w 2332"/>
                <a:gd name="T15" fmla="*/ 316 h 1731"/>
                <a:gd name="T16" fmla="*/ 939 w 2332"/>
                <a:gd name="T17" fmla="*/ 246 h 1731"/>
                <a:gd name="T18" fmla="*/ 1027 w 2332"/>
                <a:gd name="T19" fmla="*/ 223 h 1731"/>
                <a:gd name="T20" fmla="*/ 1078 w 2332"/>
                <a:gd name="T21" fmla="*/ 284 h 1731"/>
                <a:gd name="T22" fmla="*/ 1135 w 2332"/>
                <a:gd name="T23" fmla="*/ 270 h 1731"/>
                <a:gd name="T24" fmla="*/ 1176 w 2332"/>
                <a:gd name="T25" fmla="*/ 172 h 1731"/>
                <a:gd name="T26" fmla="*/ 1320 w 2332"/>
                <a:gd name="T27" fmla="*/ 117 h 1731"/>
                <a:gd name="T28" fmla="*/ 1336 w 2332"/>
                <a:gd name="T29" fmla="*/ 41 h 1731"/>
                <a:gd name="T30" fmla="*/ 1432 w 2332"/>
                <a:gd name="T31" fmla="*/ 107 h 1731"/>
                <a:gd name="T32" fmla="*/ 1544 w 2332"/>
                <a:gd name="T33" fmla="*/ 117 h 1731"/>
                <a:gd name="T34" fmla="*/ 1465 w 2332"/>
                <a:gd name="T35" fmla="*/ 262 h 1731"/>
                <a:gd name="T36" fmla="*/ 1509 w 2332"/>
                <a:gd name="T37" fmla="*/ 333 h 1731"/>
                <a:gd name="T38" fmla="*/ 1582 w 2332"/>
                <a:gd name="T39" fmla="*/ 354 h 1731"/>
                <a:gd name="T40" fmla="*/ 1668 w 2332"/>
                <a:gd name="T41" fmla="*/ 423 h 1731"/>
                <a:gd name="T42" fmla="*/ 1764 w 2332"/>
                <a:gd name="T43" fmla="*/ 413 h 1731"/>
                <a:gd name="T44" fmla="*/ 1830 w 2332"/>
                <a:gd name="T45" fmla="*/ 205 h 1731"/>
                <a:gd name="T46" fmla="*/ 1904 w 2332"/>
                <a:gd name="T47" fmla="*/ 10 h 1731"/>
                <a:gd name="T48" fmla="*/ 1933 w 2332"/>
                <a:gd name="T49" fmla="*/ 80 h 1731"/>
                <a:gd name="T50" fmla="*/ 1944 w 2332"/>
                <a:gd name="T51" fmla="*/ 176 h 1731"/>
                <a:gd name="T52" fmla="*/ 1986 w 2332"/>
                <a:gd name="T53" fmla="*/ 240 h 1731"/>
                <a:gd name="T54" fmla="*/ 2040 w 2332"/>
                <a:gd name="T55" fmla="*/ 429 h 1731"/>
                <a:gd name="T56" fmla="*/ 2089 w 2332"/>
                <a:gd name="T57" fmla="*/ 540 h 1731"/>
                <a:gd name="T58" fmla="*/ 2163 w 2332"/>
                <a:gd name="T59" fmla="*/ 686 h 1731"/>
                <a:gd name="T60" fmla="*/ 2219 w 2332"/>
                <a:gd name="T61" fmla="*/ 769 h 1731"/>
                <a:gd name="T62" fmla="*/ 2332 w 2332"/>
                <a:gd name="T63" fmla="*/ 892 h 1731"/>
                <a:gd name="T64" fmla="*/ 2276 w 2332"/>
                <a:gd name="T65" fmla="*/ 1105 h 1731"/>
                <a:gd name="T66" fmla="*/ 2087 w 2332"/>
                <a:gd name="T67" fmla="*/ 1362 h 1731"/>
                <a:gd name="T68" fmla="*/ 2005 w 2332"/>
                <a:gd name="T69" fmla="*/ 1432 h 1731"/>
                <a:gd name="T70" fmla="*/ 1838 w 2332"/>
                <a:gd name="T71" fmla="*/ 1591 h 1731"/>
                <a:gd name="T72" fmla="*/ 1749 w 2332"/>
                <a:gd name="T73" fmla="*/ 1676 h 1731"/>
                <a:gd name="T74" fmla="*/ 1589 w 2332"/>
                <a:gd name="T75" fmla="*/ 1726 h 1731"/>
                <a:gd name="T76" fmla="*/ 1517 w 2332"/>
                <a:gd name="T77" fmla="*/ 1693 h 1731"/>
                <a:gd name="T78" fmla="*/ 1410 w 2332"/>
                <a:gd name="T79" fmla="*/ 1729 h 1731"/>
                <a:gd name="T80" fmla="*/ 1297 w 2332"/>
                <a:gd name="T81" fmla="*/ 1693 h 1731"/>
                <a:gd name="T82" fmla="*/ 1279 w 2332"/>
                <a:gd name="T83" fmla="*/ 1614 h 1731"/>
                <a:gd name="T84" fmla="*/ 1263 w 2332"/>
                <a:gd name="T85" fmla="*/ 1516 h 1731"/>
                <a:gd name="T86" fmla="*/ 1225 w 2332"/>
                <a:gd name="T87" fmla="*/ 1500 h 1731"/>
                <a:gd name="T88" fmla="*/ 1280 w 2332"/>
                <a:gd name="T89" fmla="*/ 1382 h 1731"/>
                <a:gd name="T90" fmla="*/ 1088 w 2332"/>
                <a:gd name="T91" fmla="*/ 1362 h 1731"/>
                <a:gd name="T92" fmla="*/ 961 w 2332"/>
                <a:gd name="T93" fmla="*/ 1282 h 1731"/>
                <a:gd name="T94" fmla="*/ 754 w 2332"/>
                <a:gd name="T95" fmla="*/ 1323 h 1731"/>
                <a:gd name="T96" fmla="*/ 507 w 2332"/>
                <a:gd name="T97" fmla="*/ 1419 h 1731"/>
                <a:gd name="T98" fmla="*/ 214 w 2332"/>
                <a:gd name="T99" fmla="*/ 1473 h 1731"/>
                <a:gd name="T100" fmla="*/ 55 w 2332"/>
                <a:gd name="T101" fmla="*/ 1490 h 1731"/>
                <a:gd name="T102" fmla="*/ 2 w 2332"/>
                <a:gd name="T103" fmla="*/ 1423 h 1731"/>
                <a:gd name="T104" fmla="*/ 97 w 2332"/>
                <a:gd name="T105" fmla="*/ 1344 h 1731"/>
                <a:gd name="T106" fmla="*/ 75 w 2332"/>
                <a:gd name="T107" fmla="*/ 1241 h 1731"/>
                <a:gd name="T108" fmla="*/ 113 w 2332"/>
                <a:gd name="T109" fmla="*/ 1170 h 1731"/>
                <a:gd name="T110" fmla="*/ 58 w 2332"/>
                <a:gd name="T111" fmla="*/ 943 h 1731"/>
                <a:gd name="T112" fmla="*/ 113 w 2332"/>
                <a:gd name="T113" fmla="*/ 964 h 1731"/>
                <a:gd name="T114" fmla="*/ 106 w 2332"/>
                <a:gd name="T115" fmla="*/ 862 h 1731"/>
                <a:gd name="T116" fmla="*/ 147 w 2332"/>
                <a:gd name="T117" fmla="*/ 765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" name="Freeform 193">
              <a:extLst>
                <a:ext uri="{FF2B5EF4-FFF2-40B4-BE49-F238E27FC236}">
                  <a16:creationId xmlns="" xmlns:a16="http://schemas.microsoft.com/office/drawing/2014/main" id="{DEB23896-AED2-9640-B583-5ECAABF90C3D}"/>
                </a:ext>
              </a:extLst>
            </p:cNvPr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1211263" y="2643188"/>
              <a:ext cx="668337" cy="58102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5" name="Freeform 194">
              <a:extLst>
                <a:ext uri="{FF2B5EF4-FFF2-40B4-BE49-F238E27FC236}">
                  <a16:creationId xmlns="" xmlns:a16="http://schemas.microsoft.com/office/drawing/2014/main" id="{E334089D-001B-CE4B-8F90-4CBE45C21902}"/>
                </a:ext>
              </a:extLst>
            </p:cNvPr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486025" y="4283075"/>
              <a:ext cx="211138" cy="265113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" name="Freeform 195">
              <a:extLst>
                <a:ext uri="{FF2B5EF4-FFF2-40B4-BE49-F238E27FC236}">
                  <a16:creationId xmlns="" xmlns:a16="http://schemas.microsoft.com/office/drawing/2014/main" id="{D62C1D19-DD3E-C444-ACE8-9FED5C5C6954}"/>
                </a:ext>
              </a:extLst>
            </p:cNvPr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655888" y="3487738"/>
              <a:ext cx="73025" cy="109537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" name="Freeform 196">
              <a:extLst>
                <a:ext uri="{FF2B5EF4-FFF2-40B4-BE49-F238E27FC236}">
                  <a16:creationId xmlns="" xmlns:a16="http://schemas.microsoft.com/office/drawing/2014/main" id="{4FE3AD33-F8C7-034E-B5F1-D048E3C2BCC2}"/>
                </a:ext>
              </a:extLst>
            </p:cNvPr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170113" y="3046413"/>
              <a:ext cx="69850" cy="58737"/>
            </a:xfrm>
            <a:custGeom>
              <a:avLst/>
              <a:gdLst>
                <a:gd name="T0" fmla="*/ 153 w 164"/>
                <a:gd name="T1" fmla="*/ 104 h 104"/>
                <a:gd name="T2" fmla="*/ 134 w 164"/>
                <a:gd name="T3" fmla="*/ 102 h 104"/>
                <a:gd name="T4" fmla="*/ 110 w 164"/>
                <a:gd name="T5" fmla="*/ 97 h 104"/>
                <a:gd name="T6" fmla="*/ 96 w 164"/>
                <a:gd name="T7" fmla="*/ 94 h 104"/>
                <a:gd name="T8" fmla="*/ 80 w 164"/>
                <a:gd name="T9" fmla="*/ 93 h 104"/>
                <a:gd name="T10" fmla="*/ 73 w 164"/>
                <a:gd name="T11" fmla="*/ 93 h 104"/>
                <a:gd name="T12" fmla="*/ 64 w 164"/>
                <a:gd name="T13" fmla="*/ 94 h 104"/>
                <a:gd name="T14" fmla="*/ 55 w 164"/>
                <a:gd name="T15" fmla="*/ 96 h 104"/>
                <a:gd name="T16" fmla="*/ 47 w 164"/>
                <a:gd name="T17" fmla="*/ 98 h 104"/>
                <a:gd name="T18" fmla="*/ 41 w 164"/>
                <a:gd name="T19" fmla="*/ 100 h 104"/>
                <a:gd name="T20" fmla="*/ 34 w 164"/>
                <a:gd name="T21" fmla="*/ 100 h 104"/>
                <a:gd name="T22" fmla="*/ 27 w 164"/>
                <a:gd name="T23" fmla="*/ 99 h 104"/>
                <a:gd name="T24" fmla="*/ 19 w 164"/>
                <a:gd name="T25" fmla="*/ 96 h 104"/>
                <a:gd name="T26" fmla="*/ 11 w 164"/>
                <a:gd name="T27" fmla="*/ 92 h 104"/>
                <a:gd name="T28" fmla="*/ 6 w 164"/>
                <a:gd name="T29" fmla="*/ 88 h 104"/>
                <a:gd name="T30" fmla="*/ 3 w 164"/>
                <a:gd name="T31" fmla="*/ 86 h 104"/>
                <a:gd name="T32" fmla="*/ 1 w 164"/>
                <a:gd name="T33" fmla="*/ 84 h 104"/>
                <a:gd name="T34" fmla="*/ 0 w 164"/>
                <a:gd name="T35" fmla="*/ 81 h 104"/>
                <a:gd name="T36" fmla="*/ 0 w 164"/>
                <a:gd name="T37" fmla="*/ 79 h 104"/>
                <a:gd name="T38" fmla="*/ 0 w 164"/>
                <a:gd name="T39" fmla="*/ 76 h 104"/>
                <a:gd name="T40" fmla="*/ 1 w 164"/>
                <a:gd name="T41" fmla="*/ 74 h 104"/>
                <a:gd name="T42" fmla="*/ 3 w 164"/>
                <a:gd name="T43" fmla="*/ 71 h 104"/>
                <a:gd name="T44" fmla="*/ 6 w 164"/>
                <a:gd name="T45" fmla="*/ 70 h 104"/>
                <a:gd name="T46" fmla="*/ 12 w 164"/>
                <a:gd name="T47" fmla="*/ 67 h 104"/>
                <a:gd name="T48" fmla="*/ 20 w 164"/>
                <a:gd name="T49" fmla="*/ 66 h 104"/>
                <a:gd name="T50" fmla="*/ 40 w 164"/>
                <a:gd name="T51" fmla="*/ 66 h 104"/>
                <a:gd name="T52" fmla="*/ 61 w 164"/>
                <a:gd name="T53" fmla="*/ 67 h 104"/>
                <a:gd name="T54" fmla="*/ 70 w 164"/>
                <a:gd name="T55" fmla="*/ 67 h 104"/>
                <a:gd name="T56" fmla="*/ 79 w 164"/>
                <a:gd name="T57" fmla="*/ 67 h 104"/>
                <a:gd name="T58" fmla="*/ 87 w 164"/>
                <a:gd name="T59" fmla="*/ 67 h 104"/>
                <a:gd name="T60" fmla="*/ 94 w 164"/>
                <a:gd name="T61" fmla="*/ 67 h 104"/>
                <a:gd name="T62" fmla="*/ 94 w 164"/>
                <a:gd name="T63" fmla="*/ 56 h 104"/>
                <a:gd name="T64" fmla="*/ 94 w 164"/>
                <a:gd name="T65" fmla="*/ 43 h 104"/>
                <a:gd name="T66" fmla="*/ 94 w 164"/>
                <a:gd name="T67" fmla="*/ 29 h 104"/>
                <a:gd name="T68" fmla="*/ 94 w 164"/>
                <a:gd name="T69" fmla="*/ 18 h 104"/>
                <a:gd name="T70" fmla="*/ 79 w 164"/>
                <a:gd name="T71" fmla="*/ 17 h 104"/>
                <a:gd name="T72" fmla="*/ 67 w 164"/>
                <a:gd name="T73" fmla="*/ 15 h 104"/>
                <a:gd name="T74" fmla="*/ 62 w 164"/>
                <a:gd name="T75" fmla="*/ 13 h 104"/>
                <a:gd name="T76" fmla="*/ 57 w 164"/>
                <a:gd name="T77" fmla="*/ 10 h 104"/>
                <a:gd name="T78" fmla="*/ 52 w 164"/>
                <a:gd name="T79" fmla="*/ 6 h 104"/>
                <a:gd name="T80" fmla="*/ 47 w 164"/>
                <a:gd name="T81" fmla="*/ 0 h 104"/>
                <a:gd name="T82" fmla="*/ 146 w 164"/>
                <a:gd name="T83" fmla="*/ 0 h 104"/>
                <a:gd name="T84" fmla="*/ 147 w 164"/>
                <a:gd name="T85" fmla="*/ 6 h 104"/>
                <a:gd name="T86" fmla="*/ 148 w 164"/>
                <a:gd name="T87" fmla="*/ 13 h 104"/>
                <a:gd name="T88" fmla="*/ 150 w 164"/>
                <a:gd name="T89" fmla="*/ 19 h 104"/>
                <a:gd name="T90" fmla="*/ 152 w 164"/>
                <a:gd name="T91" fmla="*/ 25 h 104"/>
                <a:gd name="T92" fmla="*/ 156 w 164"/>
                <a:gd name="T93" fmla="*/ 35 h 104"/>
                <a:gd name="T94" fmla="*/ 159 w 164"/>
                <a:gd name="T95" fmla="*/ 46 h 104"/>
                <a:gd name="T96" fmla="*/ 163 w 164"/>
                <a:gd name="T97" fmla="*/ 54 h 104"/>
                <a:gd name="T98" fmla="*/ 164 w 164"/>
                <a:gd name="T99" fmla="*/ 62 h 104"/>
                <a:gd name="T100" fmla="*/ 163 w 164"/>
                <a:gd name="T101" fmla="*/ 65 h 104"/>
                <a:gd name="T102" fmla="*/ 160 w 164"/>
                <a:gd name="T103" fmla="*/ 68 h 104"/>
                <a:gd name="T104" fmla="*/ 157 w 164"/>
                <a:gd name="T105" fmla="*/ 71 h 104"/>
                <a:gd name="T106" fmla="*/ 153 w 164"/>
                <a:gd name="T107" fmla="*/ 73 h 104"/>
                <a:gd name="T108" fmla="*/ 153 w 164"/>
                <a:gd name="T109" fmla="*/ 104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" name="Freeform 197">
              <a:extLst>
                <a:ext uri="{FF2B5EF4-FFF2-40B4-BE49-F238E27FC236}">
                  <a16:creationId xmlns="" xmlns:a16="http://schemas.microsoft.com/office/drawing/2014/main" id="{738B1C23-9073-AC47-A9E4-A16756DA42DE}"/>
                </a:ext>
              </a:extLst>
            </p:cNvPr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536825" y="5400675"/>
              <a:ext cx="23813" cy="57150"/>
            </a:xfrm>
            <a:custGeom>
              <a:avLst/>
              <a:gdLst>
                <a:gd name="T0" fmla="*/ 0 w 53"/>
                <a:gd name="T1" fmla="*/ 8 h 19"/>
                <a:gd name="T2" fmla="*/ 7 w 53"/>
                <a:gd name="T3" fmla="*/ 13 h 19"/>
                <a:gd name="T4" fmla="*/ 14 w 53"/>
                <a:gd name="T5" fmla="*/ 17 h 19"/>
                <a:gd name="T6" fmla="*/ 22 w 53"/>
                <a:gd name="T7" fmla="*/ 19 h 19"/>
                <a:gd name="T8" fmla="*/ 29 w 53"/>
                <a:gd name="T9" fmla="*/ 19 h 19"/>
                <a:gd name="T10" fmla="*/ 35 w 53"/>
                <a:gd name="T11" fmla="*/ 18 h 19"/>
                <a:gd name="T12" fmla="*/ 42 w 53"/>
                <a:gd name="T13" fmla="*/ 15 h 19"/>
                <a:gd name="T14" fmla="*/ 47 w 53"/>
                <a:gd name="T15" fmla="*/ 12 h 19"/>
                <a:gd name="T16" fmla="*/ 53 w 53"/>
                <a:gd name="T17" fmla="*/ 8 h 19"/>
                <a:gd name="T18" fmla="*/ 47 w 53"/>
                <a:gd name="T19" fmla="*/ 5 h 19"/>
                <a:gd name="T20" fmla="*/ 42 w 53"/>
                <a:gd name="T21" fmla="*/ 2 h 19"/>
                <a:gd name="T22" fmla="*/ 35 w 53"/>
                <a:gd name="T23" fmla="*/ 1 h 19"/>
                <a:gd name="T24" fmla="*/ 29 w 53"/>
                <a:gd name="T25" fmla="*/ 0 h 19"/>
                <a:gd name="T26" fmla="*/ 22 w 53"/>
                <a:gd name="T27" fmla="*/ 0 h 19"/>
                <a:gd name="T28" fmla="*/ 14 w 53"/>
                <a:gd name="T29" fmla="*/ 1 h 19"/>
                <a:gd name="T30" fmla="*/ 7 w 53"/>
                <a:gd name="T31" fmla="*/ 3 h 19"/>
                <a:gd name="T32" fmla="*/ 0 w 53"/>
                <a:gd name="T33" fmla="*/ 8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" name="Freeform 198">
              <a:extLst>
                <a:ext uri="{FF2B5EF4-FFF2-40B4-BE49-F238E27FC236}">
                  <a16:creationId xmlns="" xmlns:a16="http://schemas.microsoft.com/office/drawing/2014/main" id="{5F7C0C0F-924E-994B-8040-D5CDA02ABDAC}"/>
                </a:ext>
              </a:extLst>
            </p:cNvPr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501900" y="5380038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1 w 80"/>
                <a:gd name="T3" fmla="*/ 6 h 18"/>
                <a:gd name="T4" fmla="*/ 5 w 80"/>
                <a:gd name="T5" fmla="*/ 12 h 18"/>
                <a:gd name="T6" fmla="*/ 8 w 80"/>
                <a:gd name="T7" fmla="*/ 14 h 18"/>
                <a:gd name="T8" fmla="*/ 11 w 80"/>
                <a:gd name="T9" fmla="*/ 16 h 18"/>
                <a:gd name="T10" fmla="*/ 15 w 80"/>
                <a:gd name="T11" fmla="*/ 18 h 18"/>
                <a:gd name="T12" fmla="*/ 20 w 80"/>
                <a:gd name="T13" fmla="*/ 18 h 18"/>
                <a:gd name="T14" fmla="*/ 22 w 80"/>
                <a:gd name="T15" fmla="*/ 15 h 18"/>
                <a:gd name="T16" fmla="*/ 24 w 80"/>
                <a:gd name="T17" fmla="*/ 13 h 18"/>
                <a:gd name="T18" fmla="*/ 26 w 80"/>
                <a:gd name="T19" fmla="*/ 11 h 18"/>
                <a:gd name="T20" fmla="*/ 31 w 80"/>
                <a:gd name="T21" fmla="*/ 10 h 18"/>
                <a:gd name="T22" fmla="*/ 38 w 80"/>
                <a:gd name="T23" fmla="*/ 8 h 18"/>
                <a:gd name="T24" fmla="*/ 47 w 80"/>
                <a:gd name="T25" fmla="*/ 7 h 18"/>
                <a:gd name="T26" fmla="*/ 57 w 80"/>
                <a:gd name="T27" fmla="*/ 7 h 18"/>
                <a:gd name="T28" fmla="*/ 66 w 80"/>
                <a:gd name="T29" fmla="*/ 6 h 18"/>
                <a:gd name="T30" fmla="*/ 70 w 80"/>
                <a:gd name="T31" fmla="*/ 5 h 18"/>
                <a:gd name="T32" fmla="*/ 74 w 80"/>
                <a:gd name="T33" fmla="*/ 4 h 18"/>
                <a:gd name="T34" fmla="*/ 77 w 80"/>
                <a:gd name="T35" fmla="*/ 2 h 18"/>
                <a:gd name="T36" fmla="*/ 80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" name="Freeform 199">
              <a:extLst>
                <a:ext uri="{FF2B5EF4-FFF2-40B4-BE49-F238E27FC236}">
                  <a16:creationId xmlns="" xmlns:a16="http://schemas.microsoft.com/office/drawing/2014/main" id="{E3703E34-A90F-A74B-AC5E-A78C61F8EE08}"/>
                </a:ext>
              </a:extLst>
            </p:cNvPr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501900" y="5359400"/>
              <a:ext cx="22225" cy="60325"/>
            </a:xfrm>
            <a:custGeom>
              <a:avLst/>
              <a:gdLst>
                <a:gd name="T0" fmla="*/ 20 w 46"/>
                <a:gd name="T1" fmla="*/ 0 h 27"/>
                <a:gd name="T2" fmla="*/ 0 w 46"/>
                <a:gd name="T3" fmla="*/ 18 h 27"/>
                <a:gd name="T4" fmla="*/ 9 w 46"/>
                <a:gd name="T5" fmla="*/ 22 h 27"/>
                <a:gd name="T6" fmla="*/ 16 w 46"/>
                <a:gd name="T7" fmla="*/ 25 h 27"/>
                <a:gd name="T8" fmla="*/ 23 w 46"/>
                <a:gd name="T9" fmla="*/ 27 h 27"/>
                <a:gd name="T10" fmla="*/ 29 w 46"/>
                <a:gd name="T11" fmla="*/ 27 h 27"/>
                <a:gd name="T12" fmla="*/ 33 w 46"/>
                <a:gd name="T13" fmla="*/ 27 h 27"/>
                <a:gd name="T14" fmla="*/ 37 w 46"/>
                <a:gd name="T15" fmla="*/ 25 h 27"/>
                <a:gd name="T16" fmla="*/ 42 w 46"/>
                <a:gd name="T17" fmla="*/ 22 h 27"/>
                <a:gd name="T18" fmla="*/ 46 w 46"/>
                <a:gd name="T19" fmla="*/ 18 h 27"/>
                <a:gd name="T20" fmla="*/ 41 w 46"/>
                <a:gd name="T21" fmla="*/ 16 h 27"/>
                <a:gd name="T22" fmla="*/ 33 w 46"/>
                <a:gd name="T23" fmla="*/ 11 h 27"/>
                <a:gd name="T24" fmla="*/ 26 w 46"/>
                <a:gd name="T25" fmla="*/ 5 h 27"/>
                <a:gd name="T26" fmla="*/ 20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1" name="Freeform 200">
              <a:extLst>
                <a:ext uri="{FF2B5EF4-FFF2-40B4-BE49-F238E27FC236}">
                  <a16:creationId xmlns="" xmlns:a16="http://schemas.microsoft.com/office/drawing/2014/main" id="{D5C06494-5740-0249-B084-23BBDC2D957C}"/>
                </a:ext>
              </a:extLst>
            </p:cNvPr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471738" y="5353050"/>
              <a:ext cx="25400" cy="60325"/>
            </a:xfrm>
            <a:custGeom>
              <a:avLst/>
              <a:gdLst>
                <a:gd name="T0" fmla="*/ 34 w 54"/>
                <a:gd name="T1" fmla="*/ 0 h 39"/>
                <a:gd name="T2" fmla="*/ 20 w 54"/>
                <a:gd name="T3" fmla="*/ 4 h 39"/>
                <a:gd name="T4" fmla="*/ 10 w 54"/>
                <a:gd name="T5" fmla="*/ 10 h 39"/>
                <a:gd name="T6" fmla="*/ 6 w 54"/>
                <a:gd name="T7" fmla="*/ 13 h 39"/>
                <a:gd name="T8" fmla="*/ 4 w 54"/>
                <a:gd name="T9" fmla="*/ 16 h 39"/>
                <a:gd name="T10" fmla="*/ 2 w 54"/>
                <a:gd name="T11" fmla="*/ 20 h 39"/>
                <a:gd name="T12" fmla="*/ 0 w 54"/>
                <a:gd name="T13" fmla="*/ 24 h 39"/>
                <a:gd name="T14" fmla="*/ 2 w 54"/>
                <a:gd name="T15" fmla="*/ 28 h 39"/>
                <a:gd name="T16" fmla="*/ 3 w 54"/>
                <a:gd name="T17" fmla="*/ 32 h 39"/>
                <a:gd name="T18" fmla="*/ 5 w 54"/>
                <a:gd name="T19" fmla="*/ 35 h 39"/>
                <a:gd name="T20" fmla="*/ 8 w 54"/>
                <a:gd name="T21" fmla="*/ 37 h 39"/>
                <a:gd name="T22" fmla="*/ 11 w 54"/>
                <a:gd name="T23" fmla="*/ 38 h 39"/>
                <a:gd name="T24" fmla="*/ 16 w 54"/>
                <a:gd name="T25" fmla="*/ 39 h 39"/>
                <a:gd name="T26" fmla="*/ 20 w 54"/>
                <a:gd name="T27" fmla="*/ 39 h 39"/>
                <a:gd name="T28" fmla="*/ 25 w 54"/>
                <a:gd name="T29" fmla="*/ 39 h 39"/>
                <a:gd name="T30" fmla="*/ 30 w 54"/>
                <a:gd name="T31" fmla="*/ 38 h 39"/>
                <a:gd name="T32" fmla="*/ 34 w 54"/>
                <a:gd name="T33" fmla="*/ 37 h 39"/>
                <a:gd name="T34" fmla="*/ 39 w 54"/>
                <a:gd name="T35" fmla="*/ 35 h 39"/>
                <a:gd name="T36" fmla="*/ 43 w 54"/>
                <a:gd name="T37" fmla="*/ 33 h 39"/>
                <a:gd name="T38" fmla="*/ 47 w 54"/>
                <a:gd name="T39" fmla="*/ 30 h 39"/>
                <a:gd name="T40" fmla="*/ 50 w 54"/>
                <a:gd name="T41" fmla="*/ 26 h 39"/>
                <a:gd name="T42" fmla="*/ 52 w 54"/>
                <a:gd name="T43" fmla="*/ 22 h 39"/>
                <a:gd name="T44" fmla="*/ 54 w 54"/>
                <a:gd name="T45" fmla="*/ 18 h 39"/>
                <a:gd name="T46" fmla="*/ 51 w 54"/>
                <a:gd name="T47" fmla="*/ 17 h 39"/>
                <a:gd name="T48" fmla="*/ 48 w 54"/>
                <a:gd name="T49" fmla="*/ 16 h 39"/>
                <a:gd name="T50" fmla="*/ 44 w 54"/>
                <a:gd name="T51" fmla="*/ 14 h 39"/>
                <a:gd name="T52" fmla="*/ 42 w 54"/>
                <a:gd name="T53" fmla="*/ 11 h 39"/>
                <a:gd name="T54" fmla="*/ 39 w 54"/>
                <a:gd name="T55" fmla="*/ 8 h 39"/>
                <a:gd name="T56" fmla="*/ 37 w 54"/>
                <a:gd name="T57" fmla="*/ 5 h 39"/>
                <a:gd name="T58" fmla="*/ 34 w 54"/>
                <a:gd name="T59" fmla="*/ 2 h 39"/>
                <a:gd name="T60" fmla="*/ 34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2" name="Freeform 201">
              <a:extLst>
                <a:ext uri="{FF2B5EF4-FFF2-40B4-BE49-F238E27FC236}">
                  <a16:creationId xmlns="" xmlns:a16="http://schemas.microsoft.com/office/drawing/2014/main" id="{AE42BFA7-134E-E446-ACE9-E32878BBCC3B}"/>
                </a:ext>
              </a:extLst>
            </p:cNvPr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446338" y="5343525"/>
              <a:ext cx="28575" cy="58738"/>
            </a:xfrm>
            <a:custGeom>
              <a:avLst/>
              <a:gdLst>
                <a:gd name="T0" fmla="*/ 0 w 60"/>
                <a:gd name="T1" fmla="*/ 11 h 15"/>
                <a:gd name="T2" fmla="*/ 10 w 60"/>
                <a:gd name="T3" fmla="*/ 13 h 15"/>
                <a:gd name="T4" fmla="*/ 18 w 60"/>
                <a:gd name="T5" fmla="*/ 14 h 15"/>
                <a:gd name="T6" fmla="*/ 27 w 60"/>
                <a:gd name="T7" fmla="*/ 15 h 15"/>
                <a:gd name="T8" fmla="*/ 35 w 60"/>
                <a:gd name="T9" fmla="*/ 15 h 15"/>
                <a:gd name="T10" fmla="*/ 41 w 60"/>
                <a:gd name="T11" fmla="*/ 14 h 15"/>
                <a:gd name="T12" fmla="*/ 48 w 60"/>
                <a:gd name="T13" fmla="*/ 12 h 15"/>
                <a:gd name="T14" fmla="*/ 55 w 60"/>
                <a:gd name="T15" fmla="*/ 9 h 15"/>
                <a:gd name="T16" fmla="*/ 60 w 60"/>
                <a:gd name="T17" fmla="*/ 5 h 15"/>
                <a:gd name="T18" fmla="*/ 57 w 60"/>
                <a:gd name="T19" fmla="*/ 3 h 15"/>
                <a:gd name="T20" fmla="*/ 54 w 60"/>
                <a:gd name="T21" fmla="*/ 0 h 15"/>
                <a:gd name="T22" fmla="*/ 51 w 60"/>
                <a:gd name="T23" fmla="*/ 0 h 15"/>
                <a:gd name="T24" fmla="*/ 47 w 60"/>
                <a:gd name="T25" fmla="*/ 0 h 15"/>
                <a:gd name="T26" fmla="*/ 40 w 60"/>
                <a:gd name="T27" fmla="*/ 0 h 15"/>
                <a:gd name="T28" fmla="*/ 33 w 60"/>
                <a:gd name="T29" fmla="*/ 3 h 15"/>
                <a:gd name="T30" fmla="*/ 24 w 60"/>
                <a:gd name="T31" fmla="*/ 6 h 15"/>
                <a:gd name="T32" fmla="*/ 16 w 60"/>
                <a:gd name="T33" fmla="*/ 8 h 15"/>
                <a:gd name="T34" fmla="*/ 7 w 60"/>
                <a:gd name="T35" fmla="*/ 10 h 15"/>
                <a:gd name="T36" fmla="*/ 0 w 60"/>
                <a:gd name="T37" fmla="*/ 11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3" name="Freeform 202">
              <a:extLst>
                <a:ext uri="{FF2B5EF4-FFF2-40B4-BE49-F238E27FC236}">
                  <a16:creationId xmlns="" xmlns:a16="http://schemas.microsoft.com/office/drawing/2014/main" id="{9F817493-A843-3344-9409-366A8D6AB210}"/>
                </a:ext>
              </a:extLst>
            </p:cNvPr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422525" y="5330825"/>
              <a:ext cx="33338" cy="57150"/>
            </a:xfrm>
            <a:custGeom>
              <a:avLst/>
              <a:gdLst>
                <a:gd name="T0" fmla="*/ 40 w 79"/>
                <a:gd name="T1" fmla="*/ 0 h 32"/>
                <a:gd name="T2" fmla="*/ 34 w 79"/>
                <a:gd name="T3" fmla="*/ 1 h 32"/>
                <a:gd name="T4" fmla="*/ 30 w 79"/>
                <a:gd name="T5" fmla="*/ 2 h 32"/>
                <a:gd name="T6" fmla="*/ 25 w 79"/>
                <a:gd name="T7" fmla="*/ 4 h 32"/>
                <a:gd name="T8" fmla="*/ 20 w 79"/>
                <a:gd name="T9" fmla="*/ 6 h 32"/>
                <a:gd name="T10" fmla="*/ 15 w 79"/>
                <a:gd name="T11" fmla="*/ 9 h 32"/>
                <a:gd name="T12" fmla="*/ 10 w 79"/>
                <a:gd name="T13" fmla="*/ 11 h 32"/>
                <a:gd name="T14" fmla="*/ 5 w 79"/>
                <a:gd name="T15" fmla="*/ 12 h 32"/>
                <a:gd name="T16" fmla="*/ 0 w 79"/>
                <a:gd name="T17" fmla="*/ 13 h 32"/>
                <a:gd name="T18" fmla="*/ 5 w 79"/>
                <a:gd name="T19" fmla="*/ 21 h 32"/>
                <a:gd name="T20" fmla="*/ 10 w 79"/>
                <a:gd name="T21" fmla="*/ 26 h 32"/>
                <a:gd name="T22" fmla="*/ 12 w 79"/>
                <a:gd name="T23" fmla="*/ 29 h 32"/>
                <a:gd name="T24" fmla="*/ 15 w 79"/>
                <a:gd name="T25" fmla="*/ 31 h 32"/>
                <a:gd name="T26" fmla="*/ 18 w 79"/>
                <a:gd name="T27" fmla="*/ 31 h 32"/>
                <a:gd name="T28" fmla="*/ 20 w 79"/>
                <a:gd name="T29" fmla="*/ 32 h 32"/>
                <a:gd name="T30" fmla="*/ 27 w 79"/>
                <a:gd name="T31" fmla="*/ 31 h 32"/>
                <a:gd name="T32" fmla="*/ 34 w 79"/>
                <a:gd name="T33" fmla="*/ 30 h 32"/>
                <a:gd name="T34" fmla="*/ 41 w 79"/>
                <a:gd name="T35" fmla="*/ 27 h 32"/>
                <a:gd name="T36" fmla="*/ 48 w 79"/>
                <a:gd name="T37" fmla="*/ 24 h 32"/>
                <a:gd name="T38" fmla="*/ 62 w 79"/>
                <a:gd name="T39" fmla="*/ 18 h 32"/>
                <a:gd name="T40" fmla="*/ 79 w 79"/>
                <a:gd name="T41" fmla="*/ 13 h 32"/>
                <a:gd name="T42" fmla="*/ 67 w 79"/>
                <a:gd name="T43" fmla="*/ 6 h 32"/>
                <a:gd name="T44" fmla="*/ 58 w 79"/>
                <a:gd name="T45" fmla="*/ 2 h 32"/>
                <a:gd name="T46" fmla="*/ 49 w 79"/>
                <a:gd name="T47" fmla="*/ 1 h 32"/>
                <a:gd name="T48" fmla="*/ 40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4" name="Freeform 203">
              <a:extLst>
                <a:ext uri="{FF2B5EF4-FFF2-40B4-BE49-F238E27FC236}">
                  <a16:creationId xmlns="" xmlns:a16="http://schemas.microsoft.com/office/drawing/2014/main" id="{72FAD118-5D3E-A245-8245-8AABEDF687F3}"/>
                </a:ext>
              </a:extLst>
            </p:cNvPr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416175" y="5311775"/>
              <a:ext cx="30163" cy="57150"/>
            </a:xfrm>
            <a:custGeom>
              <a:avLst/>
              <a:gdLst>
                <a:gd name="T0" fmla="*/ 33 w 66"/>
                <a:gd name="T1" fmla="*/ 0 h 19"/>
                <a:gd name="T2" fmla="*/ 25 w 66"/>
                <a:gd name="T3" fmla="*/ 1 h 19"/>
                <a:gd name="T4" fmla="*/ 19 w 66"/>
                <a:gd name="T5" fmla="*/ 2 h 19"/>
                <a:gd name="T6" fmla="*/ 13 w 66"/>
                <a:gd name="T7" fmla="*/ 4 h 19"/>
                <a:gd name="T8" fmla="*/ 9 w 66"/>
                <a:gd name="T9" fmla="*/ 7 h 19"/>
                <a:gd name="T10" fmla="*/ 5 w 66"/>
                <a:gd name="T11" fmla="*/ 11 h 19"/>
                <a:gd name="T12" fmla="*/ 2 w 66"/>
                <a:gd name="T13" fmla="*/ 14 h 19"/>
                <a:gd name="T14" fmla="*/ 0 w 66"/>
                <a:gd name="T15" fmla="*/ 17 h 19"/>
                <a:gd name="T16" fmla="*/ 0 w 66"/>
                <a:gd name="T17" fmla="*/ 19 h 19"/>
                <a:gd name="T18" fmla="*/ 19 w 66"/>
                <a:gd name="T19" fmla="*/ 19 h 19"/>
                <a:gd name="T20" fmla="*/ 38 w 66"/>
                <a:gd name="T21" fmla="*/ 19 h 19"/>
                <a:gd name="T22" fmla="*/ 46 w 66"/>
                <a:gd name="T23" fmla="*/ 18 h 19"/>
                <a:gd name="T24" fmla="*/ 54 w 66"/>
                <a:gd name="T25" fmla="*/ 17 h 19"/>
                <a:gd name="T26" fmla="*/ 61 w 66"/>
                <a:gd name="T27" fmla="*/ 15 h 19"/>
                <a:gd name="T28" fmla="*/ 66 w 66"/>
                <a:gd name="T29" fmla="*/ 13 h 19"/>
                <a:gd name="T30" fmla="*/ 57 w 66"/>
                <a:gd name="T31" fmla="*/ 8 h 19"/>
                <a:gd name="T32" fmla="*/ 50 w 66"/>
                <a:gd name="T33" fmla="*/ 4 h 19"/>
                <a:gd name="T34" fmla="*/ 42 w 66"/>
                <a:gd name="T35" fmla="*/ 1 h 19"/>
                <a:gd name="T36" fmla="*/ 33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5" name="Freeform 204">
              <a:extLst>
                <a:ext uri="{FF2B5EF4-FFF2-40B4-BE49-F238E27FC236}">
                  <a16:creationId xmlns="" xmlns:a16="http://schemas.microsoft.com/office/drawing/2014/main" id="{8882F4E7-A26D-614B-9445-BF9E071D3A8D}"/>
                </a:ext>
              </a:extLst>
            </p:cNvPr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316163" y="5002213"/>
              <a:ext cx="25400" cy="60325"/>
            </a:xfrm>
            <a:custGeom>
              <a:avLst/>
              <a:gdLst>
                <a:gd name="T0" fmla="*/ 13 w 53"/>
                <a:gd name="T1" fmla="*/ 0 h 80"/>
                <a:gd name="T2" fmla="*/ 8 w 53"/>
                <a:gd name="T3" fmla="*/ 5 h 80"/>
                <a:gd name="T4" fmla="*/ 4 w 53"/>
                <a:gd name="T5" fmla="*/ 10 h 80"/>
                <a:gd name="T6" fmla="*/ 2 w 53"/>
                <a:gd name="T7" fmla="*/ 13 h 80"/>
                <a:gd name="T8" fmla="*/ 1 w 53"/>
                <a:gd name="T9" fmla="*/ 16 h 80"/>
                <a:gd name="T10" fmla="*/ 0 w 53"/>
                <a:gd name="T11" fmla="*/ 20 h 80"/>
                <a:gd name="T12" fmla="*/ 0 w 53"/>
                <a:gd name="T13" fmla="*/ 25 h 80"/>
                <a:gd name="T14" fmla="*/ 0 w 53"/>
                <a:gd name="T15" fmla="*/ 30 h 80"/>
                <a:gd name="T16" fmla="*/ 2 w 53"/>
                <a:gd name="T17" fmla="*/ 39 h 80"/>
                <a:gd name="T18" fmla="*/ 6 w 53"/>
                <a:gd name="T19" fmla="*/ 48 h 80"/>
                <a:gd name="T20" fmla="*/ 9 w 53"/>
                <a:gd name="T21" fmla="*/ 57 h 80"/>
                <a:gd name="T22" fmla="*/ 13 w 53"/>
                <a:gd name="T23" fmla="*/ 66 h 80"/>
                <a:gd name="T24" fmla="*/ 20 w 53"/>
                <a:gd name="T25" fmla="*/ 73 h 80"/>
                <a:gd name="T26" fmla="*/ 22 w 53"/>
                <a:gd name="T27" fmla="*/ 76 h 80"/>
                <a:gd name="T28" fmla="*/ 26 w 53"/>
                <a:gd name="T29" fmla="*/ 78 h 80"/>
                <a:gd name="T30" fmla="*/ 30 w 53"/>
                <a:gd name="T31" fmla="*/ 80 h 80"/>
                <a:gd name="T32" fmla="*/ 33 w 53"/>
                <a:gd name="T33" fmla="*/ 80 h 80"/>
                <a:gd name="T34" fmla="*/ 36 w 53"/>
                <a:gd name="T35" fmla="*/ 79 h 80"/>
                <a:gd name="T36" fmla="*/ 38 w 53"/>
                <a:gd name="T37" fmla="*/ 78 h 80"/>
                <a:gd name="T38" fmla="*/ 42 w 53"/>
                <a:gd name="T39" fmla="*/ 76 h 80"/>
                <a:gd name="T40" fmla="*/ 45 w 53"/>
                <a:gd name="T41" fmla="*/ 73 h 80"/>
                <a:gd name="T42" fmla="*/ 48 w 53"/>
                <a:gd name="T43" fmla="*/ 70 h 80"/>
                <a:gd name="T44" fmla="*/ 51 w 53"/>
                <a:gd name="T45" fmla="*/ 67 h 80"/>
                <a:gd name="T46" fmla="*/ 53 w 53"/>
                <a:gd name="T47" fmla="*/ 64 h 80"/>
                <a:gd name="T48" fmla="*/ 53 w 53"/>
                <a:gd name="T49" fmla="*/ 62 h 80"/>
                <a:gd name="T50" fmla="*/ 52 w 53"/>
                <a:gd name="T51" fmla="*/ 54 h 80"/>
                <a:gd name="T52" fmla="*/ 49 w 53"/>
                <a:gd name="T53" fmla="*/ 47 h 80"/>
                <a:gd name="T54" fmla="*/ 46 w 53"/>
                <a:gd name="T55" fmla="*/ 42 h 80"/>
                <a:gd name="T56" fmla="*/ 43 w 53"/>
                <a:gd name="T57" fmla="*/ 37 h 80"/>
                <a:gd name="T58" fmla="*/ 40 w 53"/>
                <a:gd name="T59" fmla="*/ 32 h 80"/>
                <a:gd name="T60" fmla="*/ 36 w 53"/>
                <a:gd name="T61" fmla="*/ 27 h 80"/>
                <a:gd name="T62" fmla="*/ 34 w 53"/>
                <a:gd name="T63" fmla="*/ 20 h 80"/>
                <a:gd name="T64" fmla="*/ 33 w 53"/>
                <a:gd name="T65" fmla="*/ 12 h 80"/>
                <a:gd name="T66" fmla="*/ 33 w 53"/>
                <a:gd name="T67" fmla="*/ 10 h 80"/>
                <a:gd name="T68" fmla="*/ 31 w 53"/>
                <a:gd name="T69" fmla="*/ 8 h 80"/>
                <a:gd name="T70" fmla="*/ 29 w 53"/>
                <a:gd name="T71" fmla="*/ 6 h 80"/>
                <a:gd name="T72" fmla="*/ 25 w 53"/>
                <a:gd name="T73" fmla="*/ 4 h 80"/>
                <a:gd name="T74" fmla="*/ 19 w 53"/>
                <a:gd name="T75" fmla="*/ 1 h 80"/>
                <a:gd name="T76" fmla="*/ 13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6" name="Freeform 205">
              <a:extLst>
                <a:ext uri="{FF2B5EF4-FFF2-40B4-BE49-F238E27FC236}">
                  <a16:creationId xmlns="" xmlns:a16="http://schemas.microsoft.com/office/drawing/2014/main" id="{98A24987-0772-DE46-AD44-F517C4103EE4}"/>
                </a:ext>
              </a:extLst>
            </p:cNvPr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346325" y="5097463"/>
              <a:ext cx="17463" cy="53975"/>
            </a:xfrm>
            <a:custGeom>
              <a:avLst/>
              <a:gdLst>
                <a:gd name="T0" fmla="*/ 0 w 41"/>
                <a:gd name="T1" fmla="*/ 43 h 43"/>
                <a:gd name="T2" fmla="*/ 27 w 41"/>
                <a:gd name="T3" fmla="*/ 43 h 43"/>
                <a:gd name="T4" fmla="*/ 41 w 41"/>
                <a:gd name="T5" fmla="*/ 24 h 43"/>
                <a:gd name="T6" fmla="*/ 38 w 41"/>
                <a:gd name="T7" fmla="*/ 12 h 43"/>
                <a:gd name="T8" fmla="*/ 34 w 41"/>
                <a:gd name="T9" fmla="*/ 0 h 43"/>
                <a:gd name="T10" fmla="*/ 27 w 41"/>
                <a:gd name="T11" fmla="*/ 4 h 43"/>
                <a:gd name="T12" fmla="*/ 20 w 41"/>
                <a:gd name="T13" fmla="*/ 9 h 43"/>
                <a:gd name="T14" fmla="*/ 15 w 41"/>
                <a:gd name="T15" fmla="*/ 14 h 43"/>
                <a:gd name="T16" fmla="*/ 10 w 41"/>
                <a:gd name="T17" fmla="*/ 19 h 43"/>
                <a:gd name="T18" fmla="*/ 6 w 41"/>
                <a:gd name="T19" fmla="*/ 24 h 43"/>
                <a:gd name="T20" fmla="*/ 3 w 41"/>
                <a:gd name="T21" fmla="*/ 30 h 43"/>
                <a:gd name="T22" fmla="*/ 1 w 41"/>
                <a:gd name="T23" fmla="*/ 37 h 43"/>
                <a:gd name="T24" fmla="*/ 0 w 41"/>
                <a:gd name="T25" fmla="*/ 43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7" name="Freeform 206">
              <a:extLst>
                <a:ext uri="{FF2B5EF4-FFF2-40B4-BE49-F238E27FC236}">
                  <a16:creationId xmlns="" xmlns:a16="http://schemas.microsoft.com/office/drawing/2014/main" id="{9EE35AB5-D34D-5C48-82B5-11BF966E283D}"/>
                </a:ext>
              </a:extLst>
            </p:cNvPr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351088" y="5119688"/>
              <a:ext cx="7937" cy="58737"/>
            </a:xfrm>
            <a:custGeom>
              <a:avLst/>
              <a:gdLst>
                <a:gd name="T0" fmla="*/ 20 w 20"/>
                <a:gd name="T1" fmla="*/ 0 h 24"/>
                <a:gd name="T2" fmla="*/ 0 w 20"/>
                <a:gd name="T3" fmla="*/ 0 h 24"/>
                <a:gd name="T4" fmla="*/ 1 w 20"/>
                <a:gd name="T5" fmla="*/ 5 h 24"/>
                <a:gd name="T6" fmla="*/ 2 w 20"/>
                <a:gd name="T7" fmla="*/ 9 h 24"/>
                <a:gd name="T8" fmla="*/ 4 w 20"/>
                <a:gd name="T9" fmla="*/ 13 h 24"/>
                <a:gd name="T10" fmla="*/ 7 w 20"/>
                <a:gd name="T11" fmla="*/ 17 h 24"/>
                <a:gd name="T12" fmla="*/ 10 w 20"/>
                <a:gd name="T13" fmla="*/ 20 h 24"/>
                <a:gd name="T14" fmla="*/ 14 w 20"/>
                <a:gd name="T15" fmla="*/ 22 h 24"/>
                <a:gd name="T16" fmla="*/ 17 w 20"/>
                <a:gd name="T17" fmla="*/ 24 h 24"/>
                <a:gd name="T18" fmla="*/ 20 w 20"/>
                <a:gd name="T19" fmla="*/ 24 h 24"/>
                <a:gd name="T20" fmla="*/ 20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8" name="Freeform 207">
              <a:extLst>
                <a:ext uri="{FF2B5EF4-FFF2-40B4-BE49-F238E27FC236}">
                  <a16:creationId xmlns="" xmlns:a16="http://schemas.microsoft.com/office/drawing/2014/main" id="{C9DEE2C8-867D-1D45-A53C-4937CA37E4B7}"/>
                </a:ext>
              </a:extLst>
            </p:cNvPr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365375" y="5181600"/>
              <a:ext cx="17463" cy="60325"/>
            </a:xfrm>
            <a:custGeom>
              <a:avLst/>
              <a:gdLst>
                <a:gd name="T0" fmla="*/ 0 w 39"/>
                <a:gd name="T1" fmla="*/ 12 h 43"/>
                <a:gd name="T2" fmla="*/ 2 w 39"/>
                <a:gd name="T3" fmla="*/ 17 h 43"/>
                <a:gd name="T4" fmla="*/ 6 w 39"/>
                <a:gd name="T5" fmla="*/ 22 h 43"/>
                <a:gd name="T6" fmla="*/ 12 w 39"/>
                <a:gd name="T7" fmla="*/ 27 h 43"/>
                <a:gd name="T8" fmla="*/ 16 w 39"/>
                <a:gd name="T9" fmla="*/ 32 h 43"/>
                <a:gd name="T10" fmla="*/ 23 w 39"/>
                <a:gd name="T11" fmla="*/ 37 h 43"/>
                <a:gd name="T12" fmla="*/ 28 w 39"/>
                <a:gd name="T13" fmla="*/ 40 h 43"/>
                <a:gd name="T14" fmla="*/ 34 w 39"/>
                <a:gd name="T15" fmla="*/ 43 h 43"/>
                <a:gd name="T16" fmla="*/ 39 w 39"/>
                <a:gd name="T17" fmla="*/ 43 h 43"/>
                <a:gd name="T18" fmla="*/ 38 w 39"/>
                <a:gd name="T19" fmla="*/ 32 h 43"/>
                <a:gd name="T20" fmla="*/ 36 w 39"/>
                <a:gd name="T21" fmla="*/ 19 h 43"/>
                <a:gd name="T22" fmla="*/ 34 w 39"/>
                <a:gd name="T23" fmla="*/ 8 h 43"/>
                <a:gd name="T24" fmla="*/ 32 w 39"/>
                <a:gd name="T25" fmla="*/ 0 h 43"/>
                <a:gd name="T26" fmla="*/ 19 w 39"/>
                <a:gd name="T27" fmla="*/ 3 h 43"/>
                <a:gd name="T28" fmla="*/ 6 w 39"/>
                <a:gd name="T29" fmla="*/ 6 h 43"/>
                <a:gd name="T30" fmla="*/ 0 w 39"/>
                <a:gd name="T31" fmla="*/ 12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9" name="Freeform 208">
              <a:extLst>
                <a:ext uri="{FF2B5EF4-FFF2-40B4-BE49-F238E27FC236}">
                  <a16:creationId xmlns="" xmlns:a16="http://schemas.microsoft.com/office/drawing/2014/main" id="{32487006-E3FB-C84C-841B-0BAC2E33FD87}"/>
                </a:ext>
              </a:extLst>
            </p:cNvPr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352675" y="5194300"/>
              <a:ext cx="26988" cy="58738"/>
            </a:xfrm>
            <a:custGeom>
              <a:avLst/>
              <a:gdLst>
                <a:gd name="T0" fmla="*/ 29 w 55"/>
                <a:gd name="T1" fmla="*/ 26 h 62"/>
                <a:gd name="T2" fmla="*/ 8 w 55"/>
                <a:gd name="T3" fmla="*/ 0 h 62"/>
                <a:gd name="T4" fmla="*/ 4 w 55"/>
                <a:gd name="T5" fmla="*/ 5 h 62"/>
                <a:gd name="T6" fmla="*/ 1 w 55"/>
                <a:gd name="T7" fmla="*/ 11 h 62"/>
                <a:gd name="T8" fmla="*/ 0 w 55"/>
                <a:gd name="T9" fmla="*/ 16 h 62"/>
                <a:gd name="T10" fmla="*/ 0 w 55"/>
                <a:gd name="T11" fmla="*/ 21 h 62"/>
                <a:gd name="T12" fmla="*/ 2 w 55"/>
                <a:gd name="T13" fmla="*/ 26 h 62"/>
                <a:gd name="T14" fmla="*/ 4 w 55"/>
                <a:gd name="T15" fmla="*/ 31 h 62"/>
                <a:gd name="T16" fmla="*/ 8 w 55"/>
                <a:gd name="T17" fmla="*/ 36 h 62"/>
                <a:gd name="T18" fmla="*/ 11 w 55"/>
                <a:gd name="T19" fmla="*/ 41 h 62"/>
                <a:gd name="T20" fmla="*/ 16 w 55"/>
                <a:gd name="T21" fmla="*/ 45 h 62"/>
                <a:gd name="T22" fmla="*/ 21 w 55"/>
                <a:gd name="T23" fmla="*/ 49 h 62"/>
                <a:gd name="T24" fmla="*/ 26 w 55"/>
                <a:gd name="T25" fmla="*/ 53 h 62"/>
                <a:gd name="T26" fmla="*/ 33 w 55"/>
                <a:gd name="T27" fmla="*/ 56 h 62"/>
                <a:gd name="T28" fmla="*/ 38 w 55"/>
                <a:gd name="T29" fmla="*/ 58 h 62"/>
                <a:gd name="T30" fmla="*/ 44 w 55"/>
                <a:gd name="T31" fmla="*/ 60 h 62"/>
                <a:gd name="T32" fmla="*/ 49 w 55"/>
                <a:gd name="T33" fmla="*/ 61 h 62"/>
                <a:gd name="T34" fmla="*/ 55 w 55"/>
                <a:gd name="T35" fmla="*/ 62 h 62"/>
                <a:gd name="T36" fmla="*/ 54 w 55"/>
                <a:gd name="T37" fmla="*/ 53 h 62"/>
                <a:gd name="T38" fmla="*/ 53 w 55"/>
                <a:gd name="T39" fmla="*/ 46 h 62"/>
                <a:gd name="T40" fmla="*/ 49 w 55"/>
                <a:gd name="T41" fmla="*/ 40 h 62"/>
                <a:gd name="T42" fmla="*/ 46 w 55"/>
                <a:gd name="T43" fmla="*/ 35 h 62"/>
                <a:gd name="T44" fmla="*/ 43 w 55"/>
                <a:gd name="T45" fmla="*/ 31 h 62"/>
                <a:gd name="T46" fmla="*/ 38 w 55"/>
                <a:gd name="T47" fmla="*/ 28 h 62"/>
                <a:gd name="T48" fmla="*/ 33 w 55"/>
                <a:gd name="T49" fmla="*/ 26 h 62"/>
                <a:gd name="T50" fmla="*/ 29 w 55"/>
                <a:gd name="T51" fmla="*/ 26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0" name="Freeform 209">
              <a:extLst>
                <a:ext uri="{FF2B5EF4-FFF2-40B4-BE49-F238E27FC236}">
                  <a16:creationId xmlns="" xmlns:a16="http://schemas.microsoft.com/office/drawing/2014/main" id="{412F3B85-BEEE-2D41-BEF2-881B58BB3008}"/>
                </a:ext>
              </a:extLst>
            </p:cNvPr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382838" y="5227638"/>
              <a:ext cx="11112" cy="58737"/>
            </a:xfrm>
            <a:custGeom>
              <a:avLst/>
              <a:gdLst>
                <a:gd name="T0" fmla="*/ 33 w 35"/>
                <a:gd name="T1" fmla="*/ 13 h 43"/>
                <a:gd name="T2" fmla="*/ 7 w 35"/>
                <a:gd name="T3" fmla="*/ 0 h 43"/>
                <a:gd name="T4" fmla="*/ 4 w 35"/>
                <a:gd name="T5" fmla="*/ 8 h 43"/>
                <a:gd name="T6" fmla="*/ 0 w 35"/>
                <a:gd name="T7" fmla="*/ 19 h 43"/>
                <a:gd name="T8" fmla="*/ 2 w 35"/>
                <a:gd name="T9" fmla="*/ 28 h 43"/>
                <a:gd name="T10" fmla="*/ 5 w 35"/>
                <a:gd name="T11" fmla="*/ 36 h 43"/>
                <a:gd name="T12" fmla="*/ 6 w 35"/>
                <a:gd name="T13" fmla="*/ 39 h 43"/>
                <a:gd name="T14" fmla="*/ 8 w 35"/>
                <a:gd name="T15" fmla="*/ 41 h 43"/>
                <a:gd name="T16" fmla="*/ 11 w 35"/>
                <a:gd name="T17" fmla="*/ 43 h 43"/>
                <a:gd name="T18" fmla="*/ 14 w 35"/>
                <a:gd name="T19" fmla="*/ 43 h 43"/>
                <a:gd name="T20" fmla="*/ 18 w 35"/>
                <a:gd name="T21" fmla="*/ 43 h 43"/>
                <a:gd name="T22" fmla="*/ 22 w 35"/>
                <a:gd name="T23" fmla="*/ 42 h 43"/>
                <a:gd name="T24" fmla="*/ 26 w 35"/>
                <a:gd name="T25" fmla="*/ 41 h 43"/>
                <a:gd name="T26" fmla="*/ 28 w 35"/>
                <a:gd name="T27" fmla="*/ 39 h 43"/>
                <a:gd name="T28" fmla="*/ 31 w 35"/>
                <a:gd name="T29" fmla="*/ 35 h 43"/>
                <a:gd name="T30" fmla="*/ 33 w 35"/>
                <a:gd name="T31" fmla="*/ 30 h 43"/>
                <a:gd name="T32" fmla="*/ 35 w 35"/>
                <a:gd name="T33" fmla="*/ 20 h 43"/>
                <a:gd name="T34" fmla="*/ 33 w 35"/>
                <a:gd name="T35" fmla="*/ 1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1" name="Freeform 210">
              <a:extLst>
                <a:ext uri="{FF2B5EF4-FFF2-40B4-BE49-F238E27FC236}">
                  <a16:creationId xmlns="" xmlns:a16="http://schemas.microsoft.com/office/drawing/2014/main" id="{87FFAECD-6CCA-D047-850E-DDB5C7E7D114}"/>
                </a:ext>
              </a:extLst>
            </p:cNvPr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379663" y="5260975"/>
              <a:ext cx="20637" cy="55563"/>
            </a:xfrm>
            <a:custGeom>
              <a:avLst/>
              <a:gdLst>
                <a:gd name="T0" fmla="*/ 53 w 53"/>
                <a:gd name="T1" fmla="*/ 0 h 21"/>
                <a:gd name="T2" fmla="*/ 41 w 53"/>
                <a:gd name="T3" fmla="*/ 1 h 21"/>
                <a:gd name="T4" fmla="*/ 32 w 53"/>
                <a:gd name="T5" fmla="*/ 2 h 21"/>
                <a:gd name="T6" fmla="*/ 25 w 53"/>
                <a:gd name="T7" fmla="*/ 5 h 21"/>
                <a:gd name="T8" fmla="*/ 21 w 53"/>
                <a:gd name="T9" fmla="*/ 7 h 21"/>
                <a:gd name="T10" fmla="*/ 17 w 53"/>
                <a:gd name="T11" fmla="*/ 10 h 21"/>
                <a:gd name="T12" fmla="*/ 13 w 53"/>
                <a:gd name="T13" fmla="*/ 13 h 21"/>
                <a:gd name="T14" fmla="*/ 8 w 53"/>
                <a:gd name="T15" fmla="*/ 16 h 21"/>
                <a:gd name="T16" fmla="*/ 0 w 53"/>
                <a:gd name="T17" fmla="*/ 18 h 21"/>
                <a:gd name="T18" fmla="*/ 5 w 53"/>
                <a:gd name="T19" fmla="*/ 20 h 21"/>
                <a:gd name="T20" fmla="*/ 11 w 53"/>
                <a:gd name="T21" fmla="*/ 21 h 21"/>
                <a:gd name="T22" fmla="*/ 17 w 53"/>
                <a:gd name="T23" fmla="*/ 21 h 21"/>
                <a:gd name="T24" fmla="*/ 24 w 53"/>
                <a:gd name="T25" fmla="*/ 21 h 21"/>
                <a:gd name="T26" fmla="*/ 38 w 53"/>
                <a:gd name="T27" fmla="*/ 19 h 21"/>
                <a:gd name="T28" fmla="*/ 53 w 53"/>
                <a:gd name="T29" fmla="*/ 18 h 21"/>
                <a:gd name="T30" fmla="*/ 53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2" name="Freeform 211">
              <a:extLst>
                <a:ext uri="{FF2B5EF4-FFF2-40B4-BE49-F238E27FC236}">
                  <a16:creationId xmlns="" xmlns:a16="http://schemas.microsoft.com/office/drawing/2014/main" id="{78D41303-51C2-4343-B57A-0E11B3771470}"/>
                </a:ext>
              </a:extLst>
            </p:cNvPr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403475" y="5275263"/>
              <a:ext cx="17463" cy="57150"/>
            </a:xfrm>
            <a:custGeom>
              <a:avLst/>
              <a:gdLst>
                <a:gd name="T0" fmla="*/ 22 w 43"/>
                <a:gd name="T1" fmla="*/ 0 h 38"/>
                <a:gd name="T2" fmla="*/ 12 w 43"/>
                <a:gd name="T3" fmla="*/ 0 h 38"/>
                <a:gd name="T4" fmla="*/ 2 w 43"/>
                <a:gd name="T5" fmla="*/ 0 h 38"/>
                <a:gd name="T6" fmla="*/ 1 w 43"/>
                <a:gd name="T7" fmla="*/ 0 h 38"/>
                <a:gd name="T8" fmla="*/ 0 w 43"/>
                <a:gd name="T9" fmla="*/ 1 h 38"/>
                <a:gd name="T10" fmla="*/ 0 w 43"/>
                <a:gd name="T11" fmla="*/ 3 h 38"/>
                <a:gd name="T12" fmla="*/ 0 w 43"/>
                <a:gd name="T13" fmla="*/ 6 h 38"/>
                <a:gd name="T14" fmla="*/ 1 w 43"/>
                <a:gd name="T15" fmla="*/ 10 h 38"/>
                <a:gd name="T16" fmla="*/ 2 w 43"/>
                <a:gd name="T17" fmla="*/ 12 h 38"/>
                <a:gd name="T18" fmla="*/ 3 w 43"/>
                <a:gd name="T19" fmla="*/ 18 h 38"/>
                <a:gd name="T20" fmla="*/ 5 w 43"/>
                <a:gd name="T21" fmla="*/ 25 h 38"/>
                <a:gd name="T22" fmla="*/ 10 w 43"/>
                <a:gd name="T23" fmla="*/ 30 h 38"/>
                <a:gd name="T24" fmla="*/ 15 w 43"/>
                <a:gd name="T25" fmla="*/ 34 h 38"/>
                <a:gd name="T26" fmla="*/ 21 w 43"/>
                <a:gd name="T27" fmla="*/ 37 h 38"/>
                <a:gd name="T28" fmla="*/ 27 w 43"/>
                <a:gd name="T29" fmla="*/ 38 h 38"/>
                <a:gd name="T30" fmla="*/ 35 w 43"/>
                <a:gd name="T31" fmla="*/ 38 h 38"/>
                <a:gd name="T32" fmla="*/ 43 w 43"/>
                <a:gd name="T33" fmla="*/ 37 h 38"/>
                <a:gd name="T34" fmla="*/ 40 w 43"/>
                <a:gd name="T35" fmla="*/ 29 h 38"/>
                <a:gd name="T36" fmla="*/ 36 w 43"/>
                <a:gd name="T37" fmla="*/ 23 h 38"/>
                <a:gd name="T38" fmla="*/ 33 w 43"/>
                <a:gd name="T39" fmla="*/ 17 h 38"/>
                <a:gd name="T40" fmla="*/ 30 w 43"/>
                <a:gd name="T41" fmla="*/ 13 h 38"/>
                <a:gd name="T42" fmla="*/ 27 w 43"/>
                <a:gd name="T43" fmla="*/ 10 h 38"/>
                <a:gd name="T44" fmla="*/ 24 w 43"/>
                <a:gd name="T45" fmla="*/ 7 h 38"/>
                <a:gd name="T46" fmla="*/ 23 w 43"/>
                <a:gd name="T47" fmla="*/ 4 h 38"/>
                <a:gd name="T48" fmla="*/ 22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" name="Freeform 212">
              <a:extLst>
                <a:ext uri="{FF2B5EF4-FFF2-40B4-BE49-F238E27FC236}">
                  <a16:creationId xmlns="" xmlns:a16="http://schemas.microsoft.com/office/drawing/2014/main" id="{4ADF0116-7D7D-AB4B-A427-05C7F5E7A687}"/>
                </a:ext>
              </a:extLst>
            </p:cNvPr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405063" y="5303838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1 w 20"/>
                <a:gd name="T3" fmla="*/ 2 h 5"/>
                <a:gd name="T4" fmla="*/ 2 w 20"/>
                <a:gd name="T5" fmla="*/ 3 h 5"/>
                <a:gd name="T6" fmla="*/ 4 w 20"/>
                <a:gd name="T7" fmla="*/ 4 h 5"/>
                <a:gd name="T8" fmla="*/ 7 w 20"/>
                <a:gd name="T9" fmla="*/ 5 h 5"/>
                <a:gd name="T10" fmla="*/ 11 w 20"/>
                <a:gd name="T11" fmla="*/ 4 h 5"/>
                <a:gd name="T12" fmla="*/ 14 w 20"/>
                <a:gd name="T13" fmla="*/ 3 h 5"/>
                <a:gd name="T14" fmla="*/ 17 w 20"/>
                <a:gd name="T15" fmla="*/ 2 h 5"/>
                <a:gd name="T16" fmla="*/ 20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" name="Freeform 213">
              <a:extLst>
                <a:ext uri="{FF2B5EF4-FFF2-40B4-BE49-F238E27FC236}">
                  <a16:creationId xmlns="" xmlns:a16="http://schemas.microsoft.com/office/drawing/2014/main" id="{42D90849-DFA0-7140-9171-6D2EBAFACF79}"/>
                </a:ext>
              </a:extLst>
            </p:cNvPr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479675" y="5373688"/>
              <a:ext cx="34925" cy="57150"/>
            </a:xfrm>
            <a:custGeom>
              <a:avLst/>
              <a:gdLst>
                <a:gd name="T0" fmla="*/ 40 w 73"/>
                <a:gd name="T1" fmla="*/ 0 h 22"/>
                <a:gd name="T2" fmla="*/ 32 w 73"/>
                <a:gd name="T3" fmla="*/ 1 h 22"/>
                <a:gd name="T4" fmla="*/ 26 w 73"/>
                <a:gd name="T5" fmla="*/ 2 h 22"/>
                <a:gd name="T6" fmla="*/ 20 w 73"/>
                <a:gd name="T7" fmla="*/ 5 h 22"/>
                <a:gd name="T8" fmla="*/ 15 w 73"/>
                <a:gd name="T9" fmla="*/ 8 h 22"/>
                <a:gd name="T10" fmla="*/ 6 w 73"/>
                <a:gd name="T11" fmla="*/ 14 h 22"/>
                <a:gd name="T12" fmla="*/ 0 w 73"/>
                <a:gd name="T13" fmla="*/ 19 h 22"/>
                <a:gd name="T14" fmla="*/ 20 w 73"/>
                <a:gd name="T15" fmla="*/ 20 h 22"/>
                <a:gd name="T16" fmla="*/ 39 w 73"/>
                <a:gd name="T17" fmla="*/ 22 h 22"/>
                <a:gd name="T18" fmla="*/ 49 w 73"/>
                <a:gd name="T19" fmla="*/ 22 h 22"/>
                <a:gd name="T20" fmla="*/ 57 w 73"/>
                <a:gd name="T21" fmla="*/ 22 h 22"/>
                <a:gd name="T22" fmla="*/ 65 w 73"/>
                <a:gd name="T23" fmla="*/ 21 h 22"/>
                <a:gd name="T24" fmla="*/ 73 w 73"/>
                <a:gd name="T25" fmla="*/ 19 h 22"/>
                <a:gd name="T26" fmla="*/ 64 w 73"/>
                <a:gd name="T27" fmla="*/ 14 h 22"/>
                <a:gd name="T28" fmla="*/ 56 w 73"/>
                <a:gd name="T29" fmla="*/ 8 h 22"/>
                <a:gd name="T30" fmla="*/ 53 w 73"/>
                <a:gd name="T31" fmla="*/ 5 h 22"/>
                <a:gd name="T32" fmla="*/ 49 w 73"/>
                <a:gd name="T33" fmla="*/ 2 h 22"/>
                <a:gd name="T34" fmla="*/ 44 w 73"/>
                <a:gd name="T35" fmla="*/ 1 h 22"/>
                <a:gd name="T36" fmla="*/ 40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" name="Freeform 214">
              <a:extLst>
                <a:ext uri="{FF2B5EF4-FFF2-40B4-BE49-F238E27FC236}">
                  <a16:creationId xmlns="" xmlns:a16="http://schemas.microsoft.com/office/drawing/2014/main" id="{623F798D-33B6-1B4E-B9D8-18405CB2C301}"/>
                </a:ext>
              </a:extLst>
            </p:cNvPr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517775" y="5314950"/>
              <a:ext cx="123825" cy="100013"/>
            </a:xfrm>
            <a:custGeom>
              <a:avLst/>
              <a:gdLst>
                <a:gd name="T0" fmla="*/ 235 w 281"/>
                <a:gd name="T1" fmla="*/ 168 h 193"/>
                <a:gd name="T2" fmla="*/ 188 w 281"/>
                <a:gd name="T3" fmla="*/ 171 h 193"/>
                <a:gd name="T4" fmla="*/ 168 w 281"/>
                <a:gd name="T5" fmla="*/ 168 h 193"/>
                <a:gd name="T6" fmla="*/ 155 w 281"/>
                <a:gd name="T7" fmla="*/ 164 h 193"/>
                <a:gd name="T8" fmla="*/ 130 w 281"/>
                <a:gd name="T9" fmla="*/ 135 h 193"/>
                <a:gd name="T10" fmla="*/ 104 w 281"/>
                <a:gd name="T11" fmla="*/ 94 h 193"/>
                <a:gd name="T12" fmla="*/ 94 w 281"/>
                <a:gd name="T13" fmla="*/ 74 h 193"/>
                <a:gd name="T14" fmla="*/ 87 w 281"/>
                <a:gd name="T15" fmla="*/ 51 h 193"/>
                <a:gd name="T16" fmla="*/ 83 w 281"/>
                <a:gd name="T17" fmla="*/ 27 h 193"/>
                <a:gd name="T18" fmla="*/ 43 w 281"/>
                <a:gd name="T19" fmla="*/ 0 h 193"/>
                <a:gd name="T20" fmla="*/ 28 w 281"/>
                <a:gd name="T21" fmla="*/ 52 h 193"/>
                <a:gd name="T22" fmla="*/ 18 w 281"/>
                <a:gd name="T23" fmla="*/ 61 h 193"/>
                <a:gd name="T24" fmla="*/ 6 w 281"/>
                <a:gd name="T25" fmla="*/ 69 h 193"/>
                <a:gd name="T26" fmla="*/ 0 w 281"/>
                <a:gd name="T27" fmla="*/ 73 h 193"/>
                <a:gd name="T28" fmla="*/ 1 w 281"/>
                <a:gd name="T29" fmla="*/ 75 h 193"/>
                <a:gd name="T30" fmla="*/ 9 w 281"/>
                <a:gd name="T31" fmla="*/ 81 h 193"/>
                <a:gd name="T32" fmla="*/ 37 w 281"/>
                <a:gd name="T33" fmla="*/ 111 h 193"/>
                <a:gd name="T34" fmla="*/ 45 w 281"/>
                <a:gd name="T35" fmla="*/ 122 h 193"/>
                <a:gd name="T36" fmla="*/ 53 w 281"/>
                <a:gd name="T37" fmla="*/ 129 h 193"/>
                <a:gd name="T38" fmla="*/ 62 w 281"/>
                <a:gd name="T39" fmla="*/ 134 h 193"/>
                <a:gd name="T40" fmla="*/ 71 w 281"/>
                <a:gd name="T41" fmla="*/ 136 h 193"/>
                <a:gd name="T42" fmla="*/ 76 w 281"/>
                <a:gd name="T43" fmla="*/ 141 h 193"/>
                <a:gd name="T44" fmla="*/ 79 w 281"/>
                <a:gd name="T45" fmla="*/ 148 h 193"/>
                <a:gd name="T46" fmla="*/ 86 w 281"/>
                <a:gd name="T47" fmla="*/ 153 h 193"/>
                <a:gd name="T48" fmla="*/ 99 w 281"/>
                <a:gd name="T49" fmla="*/ 154 h 193"/>
                <a:gd name="T50" fmla="*/ 106 w 281"/>
                <a:gd name="T51" fmla="*/ 157 h 193"/>
                <a:gd name="T52" fmla="*/ 109 w 281"/>
                <a:gd name="T53" fmla="*/ 163 h 193"/>
                <a:gd name="T54" fmla="*/ 109 w 281"/>
                <a:gd name="T55" fmla="*/ 179 h 193"/>
                <a:gd name="T56" fmla="*/ 111 w 281"/>
                <a:gd name="T57" fmla="*/ 189 h 193"/>
                <a:gd name="T58" fmla="*/ 115 w 281"/>
                <a:gd name="T59" fmla="*/ 193 h 193"/>
                <a:gd name="T60" fmla="*/ 129 w 281"/>
                <a:gd name="T61" fmla="*/ 193 h 193"/>
                <a:gd name="T62" fmla="*/ 164 w 281"/>
                <a:gd name="T63" fmla="*/ 191 h 193"/>
                <a:gd name="T64" fmla="*/ 180 w 281"/>
                <a:gd name="T65" fmla="*/ 189 h 193"/>
                <a:gd name="T66" fmla="*/ 192 w 281"/>
                <a:gd name="T67" fmla="*/ 186 h 193"/>
                <a:gd name="T68" fmla="*/ 212 w 281"/>
                <a:gd name="T69" fmla="*/ 188 h 193"/>
                <a:gd name="T70" fmla="*/ 281 w 281"/>
                <a:gd name="T71" fmla="*/ 16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6" name="Freeform 215">
              <a:extLst>
                <a:ext uri="{FF2B5EF4-FFF2-40B4-BE49-F238E27FC236}">
                  <a16:creationId xmlns="" xmlns:a16="http://schemas.microsoft.com/office/drawing/2014/main" id="{46DAA61A-313E-4A4D-AA28-6CC22404FAF0}"/>
                </a:ext>
              </a:extLst>
            </p:cNvPr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070100" y="3081338"/>
              <a:ext cx="52388" cy="587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7" name="Freeform 216">
              <a:extLst>
                <a:ext uri="{FF2B5EF4-FFF2-40B4-BE49-F238E27FC236}">
                  <a16:creationId xmlns="" xmlns:a16="http://schemas.microsoft.com/office/drawing/2014/main" id="{8157DD0E-01C4-F94B-B473-FBC5FC14BF6D}"/>
                </a:ext>
              </a:extLst>
            </p:cNvPr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1927225" y="2943225"/>
              <a:ext cx="250825" cy="109538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8" name="Freeform 217">
              <a:extLst>
                <a:ext uri="{FF2B5EF4-FFF2-40B4-BE49-F238E27FC236}">
                  <a16:creationId xmlns="" xmlns:a16="http://schemas.microsoft.com/office/drawing/2014/main" id="{DCE61CD4-5F01-384D-9A71-09254C547466}"/>
                </a:ext>
              </a:extLst>
            </p:cNvPr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232025" y="3046413"/>
              <a:ext cx="88900" cy="69850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9" name="Freeform 218">
              <a:extLst>
                <a:ext uri="{FF2B5EF4-FFF2-40B4-BE49-F238E27FC236}">
                  <a16:creationId xmlns="" xmlns:a16="http://schemas.microsoft.com/office/drawing/2014/main" id="{7295C57D-1763-DE4B-834D-0C8E2F28AAA1}"/>
                </a:ext>
              </a:extLst>
            </p:cNvPr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1800225" y="3106738"/>
              <a:ext cx="33338" cy="84137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0" name="Freeform 219">
              <a:extLst>
                <a:ext uri="{FF2B5EF4-FFF2-40B4-BE49-F238E27FC236}">
                  <a16:creationId xmlns="" xmlns:a16="http://schemas.microsoft.com/office/drawing/2014/main" id="{3D72D365-F7A4-8B45-B176-D9CB66D6434C}"/>
                </a:ext>
              </a:extLst>
            </p:cNvPr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1720850" y="3106738"/>
              <a:ext cx="93663" cy="146050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1" name="Freeform 220">
              <a:extLst>
                <a:ext uri="{FF2B5EF4-FFF2-40B4-BE49-F238E27FC236}">
                  <a16:creationId xmlns="" xmlns:a16="http://schemas.microsoft.com/office/drawing/2014/main" id="{2FCFF441-BEA3-C74F-B633-D7185028619F}"/>
                </a:ext>
              </a:extLst>
            </p:cNvPr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1768475" y="3217863"/>
              <a:ext cx="71438" cy="57150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" name="Freeform 221">
              <a:extLst>
                <a:ext uri="{FF2B5EF4-FFF2-40B4-BE49-F238E27FC236}">
                  <a16:creationId xmlns="" xmlns:a16="http://schemas.microsoft.com/office/drawing/2014/main" id="{2D7226D1-E08C-E54A-B15D-130B15C6837D}"/>
                </a:ext>
              </a:extLst>
            </p:cNvPr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1800225" y="3179763"/>
              <a:ext cx="142875" cy="87312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" name="Freeform 222">
              <a:extLst>
                <a:ext uri="{FF2B5EF4-FFF2-40B4-BE49-F238E27FC236}">
                  <a16:creationId xmlns="" xmlns:a16="http://schemas.microsoft.com/office/drawing/2014/main" id="{7B6A8509-BC88-724C-A367-48D66DF54777}"/>
                </a:ext>
              </a:extLst>
            </p:cNvPr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1817688" y="3209925"/>
              <a:ext cx="125412" cy="122238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4" name="Freeform 223">
              <a:extLst>
                <a:ext uri="{FF2B5EF4-FFF2-40B4-BE49-F238E27FC236}">
                  <a16:creationId xmlns="" xmlns:a16="http://schemas.microsoft.com/office/drawing/2014/main" id="{D27A381F-EE62-D641-838F-A1539DE18BFB}"/>
                </a:ext>
              </a:extLst>
            </p:cNvPr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1868488" y="3322638"/>
              <a:ext cx="84137" cy="100012"/>
            </a:xfrm>
            <a:custGeom>
              <a:avLst/>
              <a:gdLst>
                <a:gd name="T0" fmla="*/ 188 w 205"/>
                <a:gd name="T1" fmla="*/ 185 h 191"/>
                <a:gd name="T2" fmla="*/ 175 w 205"/>
                <a:gd name="T3" fmla="*/ 185 h 191"/>
                <a:gd name="T4" fmla="*/ 158 w 205"/>
                <a:gd name="T5" fmla="*/ 185 h 191"/>
                <a:gd name="T6" fmla="*/ 144 w 205"/>
                <a:gd name="T7" fmla="*/ 180 h 191"/>
                <a:gd name="T8" fmla="*/ 136 w 205"/>
                <a:gd name="T9" fmla="*/ 173 h 191"/>
                <a:gd name="T10" fmla="*/ 129 w 205"/>
                <a:gd name="T11" fmla="*/ 163 h 191"/>
                <a:gd name="T12" fmla="*/ 120 w 205"/>
                <a:gd name="T13" fmla="*/ 147 h 191"/>
                <a:gd name="T14" fmla="*/ 110 w 205"/>
                <a:gd name="T15" fmla="*/ 131 h 191"/>
                <a:gd name="T16" fmla="*/ 99 w 205"/>
                <a:gd name="T17" fmla="*/ 121 h 191"/>
                <a:gd name="T18" fmla="*/ 93 w 205"/>
                <a:gd name="T19" fmla="*/ 126 h 191"/>
                <a:gd name="T20" fmla="*/ 90 w 205"/>
                <a:gd name="T21" fmla="*/ 135 h 191"/>
                <a:gd name="T22" fmla="*/ 84 w 205"/>
                <a:gd name="T23" fmla="*/ 130 h 191"/>
                <a:gd name="T24" fmla="*/ 72 w 205"/>
                <a:gd name="T25" fmla="*/ 113 h 191"/>
                <a:gd name="T26" fmla="*/ 56 w 205"/>
                <a:gd name="T27" fmla="*/ 87 h 191"/>
                <a:gd name="T28" fmla="*/ 41 w 205"/>
                <a:gd name="T29" fmla="*/ 67 h 191"/>
                <a:gd name="T30" fmla="*/ 31 w 205"/>
                <a:gd name="T31" fmla="*/ 58 h 191"/>
                <a:gd name="T32" fmla="*/ 26 w 205"/>
                <a:gd name="T33" fmla="*/ 60 h 191"/>
                <a:gd name="T34" fmla="*/ 29 w 205"/>
                <a:gd name="T35" fmla="*/ 69 h 191"/>
                <a:gd name="T36" fmla="*/ 34 w 205"/>
                <a:gd name="T37" fmla="*/ 78 h 191"/>
                <a:gd name="T38" fmla="*/ 41 w 205"/>
                <a:gd name="T39" fmla="*/ 84 h 191"/>
                <a:gd name="T40" fmla="*/ 46 w 205"/>
                <a:gd name="T41" fmla="*/ 105 h 191"/>
                <a:gd name="T42" fmla="*/ 13 w 205"/>
                <a:gd name="T43" fmla="*/ 98 h 191"/>
                <a:gd name="T44" fmla="*/ 4 w 205"/>
                <a:gd name="T45" fmla="*/ 84 h 191"/>
                <a:gd name="T46" fmla="*/ 0 w 205"/>
                <a:gd name="T47" fmla="*/ 60 h 191"/>
                <a:gd name="T48" fmla="*/ 0 w 205"/>
                <a:gd name="T49" fmla="*/ 38 h 191"/>
                <a:gd name="T50" fmla="*/ 3 w 205"/>
                <a:gd name="T51" fmla="*/ 28 h 191"/>
                <a:gd name="T52" fmla="*/ 8 w 205"/>
                <a:gd name="T53" fmla="*/ 22 h 191"/>
                <a:gd name="T54" fmla="*/ 14 w 205"/>
                <a:gd name="T55" fmla="*/ 13 h 191"/>
                <a:gd name="T56" fmla="*/ 20 w 205"/>
                <a:gd name="T57" fmla="*/ 4 h 191"/>
                <a:gd name="T58" fmla="*/ 28 w 205"/>
                <a:gd name="T59" fmla="*/ 0 h 191"/>
                <a:gd name="T60" fmla="*/ 126 w 205"/>
                <a:gd name="T61" fmla="*/ 6 h 191"/>
                <a:gd name="T62" fmla="*/ 127 w 205"/>
                <a:gd name="T63" fmla="*/ 21 h 191"/>
                <a:gd name="T64" fmla="*/ 130 w 205"/>
                <a:gd name="T65" fmla="*/ 37 h 191"/>
                <a:gd name="T66" fmla="*/ 143 w 205"/>
                <a:gd name="T67" fmla="*/ 70 h 191"/>
                <a:gd name="T68" fmla="*/ 165 w 205"/>
                <a:gd name="T69" fmla="*/ 102 h 191"/>
                <a:gd name="T70" fmla="*/ 177 w 205"/>
                <a:gd name="T71" fmla="*/ 117 h 191"/>
                <a:gd name="T72" fmla="*/ 192 w 205"/>
                <a:gd name="T73" fmla="*/ 130 h 191"/>
                <a:gd name="T74" fmla="*/ 189 w 205"/>
                <a:gd name="T75" fmla="*/ 143 h 191"/>
                <a:gd name="T76" fmla="*/ 189 w 205"/>
                <a:gd name="T77" fmla="*/ 156 h 191"/>
                <a:gd name="T78" fmla="*/ 192 w 205"/>
                <a:gd name="T79" fmla="*/ 191 h 191"/>
                <a:gd name="T80" fmla="*/ 205 w 205"/>
                <a:gd name="T81" fmla="*/ 185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5" name="Freeform 224">
              <a:extLst>
                <a:ext uri="{FF2B5EF4-FFF2-40B4-BE49-F238E27FC236}">
                  <a16:creationId xmlns="" xmlns:a16="http://schemas.microsoft.com/office/drawing/2014/main" id="{AE2088B7-531D-8543-AF1C-98DE199E24FE}"/>
                </a:ext>
              </a:extLst>
            </p:cNvPr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1949450" y="3376613"/>
              <a:ext cx="142875" cy="79375"/>
            </a:xfrm>
            <a:custGeom>
              <a:avLst/>
              <a:gdLst>
                <a:gd name="T0" fmla="*/ 3 w 329"/>
                <a:gd name="T1" fmla="*/ 58 h 154"/>
                <a:gd name="T2" fmla="*/ 0 w 329"/>
                <a:gd name="T3" fmla="*/ 42 h 154"/>
                <a:gd name="T4" fmla="*/ 2 w 329"/>
                <a:gd name="T5" fmla="*/ 31 h 154"/>
                <a:gd name="T6" fmla="*/ 17 w 329"/>
                <a:gd name="T7" fmla="*/ 33 h 154"/>
                <a:gd name="T8" fmla="*/ 36 w 329"/>
                <a:gd name="T9" fmla="*/ 41 h 154"/>
                <a:gd name="T10" fmla="*/ 49 w 329"/>
                <a:gd name="T11" fmla="*/ 43 h 154"/>
                <a:gd name="T12" fmla="*/ 67 w 329"/>
                <a:gd name="T13" fmla="*/ 43 h 154"/>
                <a:gd name="T14" fmla="*/ 86 w 329"/>
                <a:gd name="T15" fmla="*/ 39 h 154"/>
                <a:gd name="T16" fmla="*/ 110 w 329"/>
                <a:gd name="T17" fmla="*/ 30 h 154"/>
                <a:gd name="T18" fmla="*/ 140 w 329"/>
                <a:gd name="T19" fmla="*/ 13 h 154"/>
                <a:gd name="T20" fmla="*/ 162 w 329"/>
                <a:gd name="T21" fmla="*/ 4 h 154"/>
                <a:gd name="T22" fmla="*/ 179 w 329"/>
                <a:gd name="T23" fmla="*/ 0 h 154"/>
                <a:gd name="T24" fmla="*/ 203 w 329"/>
                <a:gd name="T25" fmla="*/ 0 h 154"/>
                <a:gd name="T26" fmla="*/ 224 w 329"/>
                <a:gd name="T27" fmla="*/ 6 h 154"/>
                <a:gd name="T28" fmla="*/ 243 w 329"/>
                <a:gd name="T29" fmla="*/ 15 h 154"/>
                <a:gd name="T30" fmla="*/ 259 w 329"/>
                <a:gd name="T31" fmla="*/ 28 h 154"/>
                <a:gd name="T32" fmla="*/ 280 w 329"/>
                <a:gd name="T33" fmla="*/ 46 h 154"/>
                <a:gd name="T34" fmla="*/ 302 w 329"/>
                <a:gd name="T35" fmla="*/ 61 h 154"/>
                <a:gd name="T36" fmla="*/ 319 w 329"/>
                <a:gd name="T37" fmla="*/ 67 h 154"/>
                <a:gd name="T38" fmla="*/ 313 w 329"/>
                <a:gd name="T39" fmla="*/ 82 h 154"/>
                <a:gd name="T40" fmla="*/ 293 w 329"/>
                <a:gd name="T41" fmla="*/ 106 h 154"/>
                <a:gd name="T42" fmla="*/ 277 w 329"/>
                <a:gd name="T43" fmla="*/ 138 h 154"/>
                <a:gd name="T44" fmla="*/ 265 w 329"/>
                <a:gd name="T45" fmla="*/ 153 h 154"/>
                <a:gd name="T46" fmla="*/ 253 w 329"/>
                <a:gd name="T47" fmla="*/ 146 h 154"/>
                <a:gd name="T48" fmla="*/ 240 w 329"/>
                <a:gd name="T49" fmla="*/ 136 h 154"/>
                <a:gd name="T50" fmla="*/ 230 w 329"/>
                <a:gd name="T51" fmla="*/ 126 h 154"/>
                <a:gd name="T52" fmla="*/ 230 w 329"/>
                <a:gd name="T53" fmla="*/ 114 h 154"/>
                <a:gd name="T54" fmla="*/ 235 w 329"/>
                <a:gd name="T55" fmla="*/ 100 h 154"/>
                <a:gd name="T56" fmla="*/ 249 w 329"/>
                <a:gd name="T57" fmla="*/ 86 h 154"/>
                <a:gd name="T58" fmla="*/ 233 w 329"/>
                <a:gd name="T59" fmla="*/ 68 h 154"/>
                <a:gd name="T60" fmla="*/ 207 w 329"/>
                <a:gd name="T61" fmla="*/ 55 h 154"/>
                <a:gd name="T62" fmla="*/ 195 w 329"/>
                <a:gd name="T63" fmla="*/ 41 h 154"/>
                <a:gd name="T64" fmla="*/ 179 w 329"/>
                <a:gd name="T65" fmla="*/ 34 h 154"/>
                <a:gd name="T66" fmla="*/ 163 w 329"/>
                <a:gd name="T67" fmla="*/ 41 h 154"/>
                <a:gd name="T68" fmla="*/ 150 w 329"/>
                <a:gd name="T69" fmla="*/ 50 h 154"/>
                <a:gd name="T70" fmla="*/ 140 w 329"/>
                <a:gd name="T71" fmla="*/ 61 h 154"/>
                <a:gd name="T72" fmla="*/ 132 w 329"/>
                <a:gd name="T73" fmla="*/ 74 h 154"/>
                <a:gd name="T74" fmla="*/ 128 w 329"/>
                <a:gd name="T75" fmla="*/ 88 h 154"/>
                <a:gd name="T76" fmla="*/ 123 w 329"/>
                <a:gd name="T77" fmla="*/ 109 h 154"/>
                <a:gd name="T78" fmla="*/ 122 w 329"/>
                <a:gd name="T79" fmla="*/ 125 h 154"/>
                <a:gd name="T80" fmla="*/ 118 w 329"/>
                <a:gd name="T81" fmla="*/ 129 h 154"/>
                <a:gd name="T82" fmla="*/ 108 w 329"/>
                <a:gd name="T83" fmla="*/ 135 h 154"/>
                <a:gd name="T84" fmla="*/ 96 w 329"/>
                <a:gd name="T85" fmla="*/ 135 h 154"/>
                <a:gd name="T86" fmla="*/ 83 w 329"/>
                <a:gd name="T87" fmla="*/ 129 h 154"/>
                <a:gd name="T88" fmla="*/ 66 w 329"/>
                <a:gd name="T89" fmla="*/ 116 h 154"/>
                <a:gd name="T90" fmla="*/ 48 w 329"/>
                <a:gd name="T91" fmla="*/ 94 h 154"/>
                <a:gd name="T92" fmla="*/ 33 w 329"/>
                <a:gd name="T93" fmla="*/ 80 h 154"/>
                <a:gd name="T94" fmla="*/ 22 w 329"/>
                <a:gd name="T95" fmla="*/ 74 h 154"/>
                <a:gd name="T96" fmla="*/ 3 w 329"/>
                <a:gd name="T97" fmla="*/ 73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6" name="Freeform 225">
              <a:extLst>
                <a:ext uri="{FF2B5EF4-FFF2-40B4-BE49-F238E27FC236}">
                  <a16:creationId xmlns="" xmlns:a16="http://schemas.microsoft.com/office/drawing/2014/main" id="{ECC6767B-2916-B947-80E4-E5AAAD3B0023}"/>
                </a:ext>
              </a:extLst>
            </p:cNvPr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630488" y="4630738"/>
              <a:ext cx="133350" cy="15557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7" name="Freeform 226">
              <a:extLst>
                <a:ext uri="{FF2B5EF4-FFF2-40B4-BE49-F238E27FC236}">
                  <a16:creationId xmlns="" xmlns:a16="http://schemas.microsoft.com/office/drawing/2014/main" id="{C25BEF13-E92E-9148-A669-98293DB25EF7}"/>
                </a:ext>
              </a:extLst>
            </p:cNvPr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176713" y="12477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8" name="Freeform 227">
              <a:extLst>
                <a:ext uri="{FF2B5EF4-FFF2-40B4-BE49-F238E27FC236}">
                  <a16:creationId xmlns="" xmlns:a16="http://schemas.microsoft.com/office/drawing/2014/main" id="{313583FC-B369-AC49-B62A-D3FD2839D2C0}"/>
                </a:ext>
              </a:extLst>
            </p:cNvPr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4103688" y="1477963"/>
              <a:ext cx="449262" cy="361950"/>
            </a:xfrm>
            <a:custGeom>
              <a:avLst/>
              <a:gdLst>
                <a:gd name="T0" fmla="*/ 240 w 1037"/>
                <a:gd name="T1" fmla="*/ 622 h 690"/>
                <a:gd name="T2" fmla="*/ 155 w 1037"/>
                <a:gd name="T3" fmla="*/ 683 h 690"/>
                <a:gd name="T4" fmla="*/ 32 w 1037"/>
                <a:gd name="T5" fmla="*/ 654 h 690"/>
                <a:gd name="T6" fmla="*/ 67 w 1037"/>
                <a:gd name="T7" fmla="*/ 634 h 690"/>
                <a:gd name="T8" fmla="*/ 18 w 1037"/>
                <a:gd name="T9" fmla="*/ 596 h 690"/>
                <a:gd name="T10" fmla="*/ 44 w 1037"/>
                <a:gd name="T11" fmla="*/ 595 h 690"/>
                <a:gd name="T12" fmla="*/ 67 w 1037"/>
                <a:gd name="T13" fmla="*/ 567 h 690"/>
                <a:gd name="T14" fmla="*/ 8 w 1037"/>
                <a:gd name="T15" fmla="*/ 546 h 690"/>
                <a:gd name="T16" fmla="*/ 74 w 1037"/>
                <a:gd name="T17" fmla="*/ 523 h 690"/>
                <a:gd name="T18" fmla="*/ 0 w 1037"/>
                <a:gd name="T19" fmla="*/ 499 h 690"/>
                <a:gd name="T20" fmla="*/ 20 w 1037"/>
                <a:gd name="T21" fmla="*/ 456 h 690"/>
                <a:gd name="T22" fmla="*/ 37 w 1037"/>
                <a:gd name="T23" fmla="*/ 461 h 690"/>
                <a:gd name="T24" fmla="*/ 77 w 1037"/>
                <a:gd name="T25" fmla="*/ 449 h 690"/>
                <a:gd name="T26" fmla="*/ 92 w 1037"/>
                <a:gd name="T27" fmla="*/ 424 h 690"/>
                <a:gd name="T28" fmla="*/ 130 w 1037"/>
                <a:gd name="T29" fmla="*/ 409 h 690"/>
                <a:gd name="T30" fmla="*/ 220 w 1037"/>
                <a:gd name="T31" fmla="*/ 382 h 690"/>
                <a:gd name="T32" fmla="*/ 227 w 1037"/>
                <a:gd name="T33" fmla="*/ 339 h 690"/>
                <a:gd name="T34" fmla="*/ 283 w 1037"/>
                <a:gd name="T35" fmla="*/ 325 h 690"/>
                <a:gd name="T36" fmla="*/ 282 w 1037"/>
                <a:gd name="T37" fmla="*/ 310 h 690"/>
                <a:gd name="T38" fmla="*/ 298 w 1037"/>
                <a:gd name="T39" fmla="*/ 285 h 690"/>
                <a:gd name="T40" fmla="*/ 335 w 1037"/>
                <a:gd name="T41" fmla="*/ 243 h 690"/>
                <a:gd name="T42" fmla="*/ 343 w 1037"/>
                <a:gd name="T43" fmla="*/ 226 h 690"/>
                <a:gd name="T44" fmla="*/ 390 w 1037"/>
                <a:gd name="T45" fmla="*/ 200 h 690"/>
                <a:gd name="T46" fmla="*/ 387 w 1037"/>
                <a:gd name="T47" fmla="*/ 157 h 690"/>
                <a:gd name="T48" fmla="*/ 373 w 1037"/>
                <a:gd name="T49" fmla="*/ 142 h 690"/>
                <a:gd name="T50" fmla="*/ 334 w 1037"/>
                <a:gd name="T51" fmla="*/ 154 h 690"/>
                <a:gd name="T52" fmla="*/ 390 w 1037"/>
                <a:gd name="T53" fmla="*/ 103 h 690"/>
                <a:gd name="T54" fmla="*/ 411 w 1037"/>
                <a:gd name="T55" fmla="*/ 96 h 690"/>
                <a:gd name="T56" fmla="*/ 463 w 1037"/>
                <a:gd name="T57" fmla="*/ 114 h 690"/>
                <a:gd name="T58" fmla="*/ 466 w 1037"/>
                <a:gd name="T59" fmla="*/ 91 h 690"/>
                <a:gd name="T60" fmla="*/ 558 w 1037"/>
                <a:gd name="T61" fmla="*/ 61 h 690"/>
                <a:gd name="T62" fmla="*/ 591 w 1037"/>
                <a:gd name="T63" fmla="*/ 63 h 690"/>
                <a:gd name="T64" fmla="*/ 645 w 1037"/>
                <a:gd name="T65" fmla="*/ 55 h 690"/>
                <a:gd name="T66" fmla="*/ 645 w 1037"/>
                <a:gd name="T67" fmla="*/ 33 h 690"/>
                <a:gd name="T68" fmla="*/ 699 w 1037"/>
                <a:gd name="T69" fmla="*/ 13 h 690"/>
                <a:gd name="T70" fmla="*/ 705 w 1037"/>
                <a:gd name="T71" fmla="*/ 29 h 690"/>
                <a:gd name="T72" fmla="*/ 712 w 1037"/>
                <a:gd name="T73" fmla="*/ 40 h 690"/>
                <a:gd name="T74" fmla="*/ 758 w 1037"/>
                <a:gd name="T75" fmla="*/ 12 h 690"/>
                <a:gd name="T76" fmla="*/ 817 w 1037"/>
                <a:gd name="T77" fmla="*/ 6 h 690"/>
                <a:gd name="T78" fmla="*/ 844 w 1037"/>
                <a:gd name="T79" fmla="*/ 8 h 690"/>
                <a:gd name="T80" fmla="*/ 862 w 1037"/>
                <a:gd name="T81" fmla="*/ 11 h 690"/>
                <a:gd name="T82" fmla="*/ 924 w 1037"/>
                <a:gd name="T83" fmla="*/ 6 h 690"/>
                <a:gd name="T84" fmla="*/ 1037 w 1037"/>
                <a:gd name="T85" fmla="*/ 43 h 690"/>
                <a:gd name="T86" fmla="*/ 1005 w 1037"/>
                <a:gd name="T87" fmla="*/ 79 h 690"/>
                <a:gd name="T88" fmla="*/ 930 w 1037"/>
                <a:gd name="T89" fmla="*/ 55 h 690"/>
                <a:gd name="T90" fmla="*/ 873 w 1037"/>
                <a:gd name="T91" fmla="*/ 74 h 690"/>
                <a:gd name="T92" fmla="*/ 848 w 1037"/>
                <a:gd name="T93" fmla="*/ 116 h 690"/>
                <a:gd name="T94" fmla="*/ 811 w 1037"/>
                <a:gd name="T95" fmla="*/ 111 h 690"/>
                <a:gd name="T96" fmla="*/ 745 w 1037"/>
                <a:gd name="T97" fmla="*/ 128 h 690"/>
                <a:gd name="T98" fmla="*/ 694 w 1037"/>
                <a:gd name="T99" fmla="*/ 92 h 690"/>
                <a:gd name="T100" fmla="*/ 620 w 1037"/>
                <a:gd name="T101" fmla="*/ 112 h 690"/>
                <a:gd name="T102" fmla="*/ 534 w 1037"/>
                <a:gd name="T103" fmla="*/ 134 h 690"/>
                <a:gd name="T104" fmla="*/ 486 w 1037"/>
                <a:gd name="T105" fmla="*/ 210 h 690"/>
                <a:gd name="T106" fmla="*/ 430 w 1037"/>
                <a:gd name="T107" fmla="*/ 279 h 690"/>
                <a:gd name="T108" fmla="*/ 399 w 1037"/>
                <a:gd name="T109" fmla="*/ 364 h 690"/>
                <a:gd name="T110" fmla="*/ 333 w 1037"/>
                <a:gd name="T111" fmla="*/ 425 h 690"/>
                <a:gd name="T112" fmla="*/ 355 w 1037"/>
                <a:gd name="T113" fmla="*/ 497 h 690"/>
                <a:gd name="T114" fmla="*/ 354 w 1037"/>
                <a:gd name="T115" fmla="*/ 558 h 690"/>
                <a:gd name="T116" fmla="*/ 331 w 1037"/>
                <a:gd name="T117" fmla="*/ 615 h 690"/>
                <a:gd name="T118" fmla="*/ 295 w 1037"/>
                <a:gd name="T119" fmla="*/ 645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9" name="Freeform 228">
              <a:extLst>
                <a:ext uri="{FF2B5EF4-FFF2-40B4-BE49-F238E27FC236}">
                  <a16:creationId xmlns="" xmlns:a16="http://schemas.microsoft.com/office/drawing/2014/main" id="{87B96192-98A8-504C-80C3-5E21AAE42318}"/>
                </a:ext>
              </a:extLst>
            </p:cNvPr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4443413" y="2319338"/>
              <a:ext cx="49212" cy="90487"/>
            </a:xfrm>
            <a:custGeom>
              <a:avLst/>
              <a:gdLst>
                <a:gd name="T0" fmla="*/ 120 w 120"/>
                <a:gd name="T1" fmla="*/ 99 h 173"/>
                <a:gd name="T2" fmla="*/ 92 w 120"/>
                <a:gd name="T3" fmla="*/ 60 h 173"/>
                <a:gd name="T4" fmla="*/ 70 w 120"/>
                <a:gd name="T5" fmla="*/ 28 h 173"/>
                <a:gd name="T6" fmla="*/ 60 w 120"/>
                <a:gd name="T7" fmla="*/ 16 h 173"/>
                <a:gd name="T8" fmla="*/ 53 w 120"/>
                <a:gd name="T9" fmla="*/ 8 h 173"/>
                <a:gd name="T10" fmla="*/ 48 w 120"/>
                <a:gd name="T11" fmla="*/ 4 h 173"/>
                <a:gd name="T12" fmla="*/ 45 w 120"/>
                <a:gd name="T13" fmla="*/ 2 h 173"/>
                <a:gd name="T14" fmla="*/ 43 w 120"/>
                <a:gd name="T15" fmla="*/ 1 h 173"/>
                <a:gd name="T16" fmla="*/ 39 w 120"/>
                <a:gd name="T17" fmla="*/ 0 h 173"/>
                <a:gd name="T18" fmla="*/ 33 w 120"/>
                <a:gd name="T19" fmla="*/ 0 h 173"/>
                <a:gd name="T20" fmla="*/ 27 w 120"/>
                <a:gd name="T21" fmla="*/ 1 h 173"/>
                <a:gd name="T22" fmla="*/ 24 w 120"/>
                <a:gd name="T23" fmla="*/ 3 h 173"/>
                <a:gd name="T24" fmla="*/ 21 w 120"/>
                <a:gd name="T25" fmla="*/ 5 h 173"/>
                <a:gd name="T26" fmla="*/ 19 w 120"/>
                <a:gd name="T27" fmla="*/ 8 h 173"/>
                <a:gd name="T28" fmla="*/ 16 w 120"/>
                <a:gd name="T29" fmla="*/ 12 h 173"/>
                <a:gd name="T30" fmla="*/ 15 w 120"/>
                <a:gd name="T31" fmla="*/ 15 h 173"/>
                <a:gd name="T32" fmla="*/ 15 w 120"/>
                <a:gd name="T33" fmla="*/ 20 h 173"/>
                <a:gd name="T34" fmla="*/ 14 w 120"/>
                <a:gd name="T35" fmla="*/ 30 h 173"/>
                <a:gd name="T36" fmla="*/ 12 w 120"/>
                <a:gd name="T37" fmla="*/ 42 h 173"/>
                <a:gd name="T38" fmla="*/ 10 w 120"/>
                <a:gd name="T39" fmla="*/ 48 h 173"/>
                <a:gd name="T40" fmla="*/ 8 w 120"/>
                <a:gd name="T41" fmla="*/ 54 h 173"/>
                <a:gd name="T42" fmla="*/ 4 w 120"/>
                <a:gd name="T43" fmla="*/ 61 h 173"/>
                <a:gd name="T44" fmla="*/ 0 w 120"/>
                <a:gd name="T45" fmla="*/ 68 h 173"/>
                <a:gd name="T46" fmla="*/ 5 w 120"/>
                <a:gd name="T47" fmla="*/ 82 h 173"/>
                <a:gd name="T48" fmla="*/ 10 w 120"/>
                <a:gd name="T49" fmla="*/ 99 h 173"/>
                <a:gd name="T50" fmla="*/ 15 w 120"/>
                <a:gd name="T51" fmla="*/ 115 h 173"/>
                <a:gd name="T52" fmla="*/ 20 w 120"/>
                <a:gd name="T53" fmla="*/ 129 h 173"/>
                <a:gd name="T54" fmla="*/ 24 w 120"/>
                <a:gd name="T55" fmla="*/ 134 h 173"/>
                <a:gd name="T56" fmla="*/ 30 w 120"/>
                <a:gd name="T57" fmla="*/ 139 h 173"/>
                <a:gd name="T58" fmla="*/ 37 w 120"/>
                <a:gd name="T59" fmla="*/ 145 h 173"/>
                <a:gd name="T60" fmla="*/ 46 w 120"/>
                <a:gd name="T61" fmla="*/ 151 h 173"/>
                <a:gd name="T62" fmla="*/ 54 w 120"/>
                <a:gd name="T63" fmla="*/ 157 h 173"/>
                <a:gd name="T64" fmla="*/ 60 w 120"/>
                <a:gd name="T65" fmla="*/ 163 h 173"/>
                <a:gd name="T66" fmla="*/ 62 w 120"/>
                <a:gd name="T67" fmla="*/ 165 h 173"/>
                <a:gd name="T68" fmla="*/ 65 w 120"/>
                <a:gd name="T69" fmla="*/ 168 h 173"/>
                <a:gd name="T70" fmla="*/ 66 w 120"/>
                <a:gd name="T71" fmla="*/ 170 h 173"/>
                <a:gd name="T72" fmla="*/ 67 w 120"/>
                <a:gd name="T73" fmla="*/ 173 h 173"/>
                <a:gd name="T74" fmla="*/ 76 w 120"/>
                <a:gd name="T75" fmla="*/ 167 h 173"/>
                <a:gd name="T76" fmla="*/ 86 w 120"/>
                <a:gd name="T77" fmla="*/ 160 h 173"/>
                <a:gd name="T78" fmla="*/ 93 w 120"/>
                <a:gd name="T79" fmla="*/ 152 h 173"/>
                <a:gd name="T80" fmla="*/ 101 w 120"/>
                <a:gd name="T81" fmla="*/ 142 h 173"/>
                <a:gd name="T82" fmla="*/ 106 w 120"/>
                <a:gd name="T83" fmla="*/ 132 h 173"/>
                <a:gd name="T84" fmla="*/ 112 w 120"/>
                <a:gd name="T85" fmla="*/ 121 h 173"/>
                <a:gd name="T86" fmla="*/ 116 w 120"/>
                <a:gd name="T87" fmla="*/ 110 h 173"/>
                <a:gd name="T88" fmla="*/ 120 w 120"/>
                <a:gd name="T89" fmla="*/ 99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0" name="Freeform 229">
              <a:extLst>
                <a:ext uri="{FF2B5EF4-FFF2-40B4-BE49-F238E27FC236}">
                  <a16:creationId xmlns="" xmlns:a16="http://schemas.microsoft.com/office/drawing/2014/main" id="{30FC5B72-7DB3-2A4B-A784-3DA8DCCB7096}"/>
                </a:ext>
              </a:extLst>
            </p:cNvPr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4151313" y="2159000"/>
              <a:ext cx="84137" cy="58738"/>
            </a:xfrm>
            <a:custGeom>
              <a:avLst/>
              <a:gdLst>
                <a:gd name="T0" fmla="*/ 200 w 200"/>
                <a:gd name="T1" fmla="*/ 55 h 98"/>
                <a:gd name="T2" fmla="*/ 195 w 200"/>
                <a:gd name="T3" fmla="*/ 56 h 98"/>
                <a:gd name="T4" fmla="*/ 186 w 200"/>
                <a:gd name="T5" fmla="*/ 60 h 98"/>
                <a:gd name="T6" fmla="*/ 177 w 200"/>
                <a:gd name="T7" fmla="*/ 65 h 98"/>
                <a:gd name="T8" fmla="*/ 166 w 200"/>
                <a:gd name="T9" fmla="*/ 73 h 98"/>
                <a:gd name="T10" fmla="*/ 155 w 200"/>
                <a:gd name="T11" fmla="*/ 80 h 98"/>
                <a:gd name="T12" fmla="*/ 145 w 200"/>
                <a:gd name="T13" fmla="*/ 87 h 98"/>
                <a:gd name="T14" fmla="*/ 137 w 200"/>
                <a:gd name="T15" fmla="*/ 93 h 98"/>
                <a:gd name="T16" fmla="*/ 133 w 200"/>
                <a:gd name="T17" fmla="*/ 98 h 98"/>
                <a:gd name="T18" fmla="*/ 127 w 200"/>
                <a:gd name="T19" fmla="*/ 98 h 98"/>
                <a:gd name="T20" fmla="*/ 122 w 200"/>
                <a:gd name="T21" fmla="*/ 98 h 98"/>
                <a:gd name="T22" fmla="*/ 116 w 200"/>
                <a:gd name="T23" fmla="*/ 97 h 98"/>
                <a:gd name="T24" fmla="*/ 111 w 200"/>
                <a:gd name="T25" fmla="*/ 95 h 98"/>
                <a:gd name="T26" fmla="*/ 106 w 200"/>
                <a:gd name="T27" fmla="*/ 93 h 98"/>
                <a:gd name="T28" fmla="*/ 103 w 200"/>
                <a:gd name="T29" fmla="*/ 88 h 98"/>
                <a:gd name="T30" fmla="*/ 101 w 200"/>
                <a:gd name="T31" fmla="*/ 82 h 98"/>
                <a:gd name="T32" fmla="*/ 100 w 200"/>
                <a:gd name="T33" fmla="*/ 74 h 98"/>
                <a:gd name="T34" fmla="*/ 91 w 200"/>
                <a:gd name="T35" fmla="*/ 80 h 98"/>
                <a:gd name="T36" fmla="*/ 82 w 200"/>
                <a:gd name="T37" fmla="*/ 86 h 98"/>
                <a:gd name="T38" fmla="*/ 78 w 200"/>
                <a:gd name="T39" fmla="*/ 90 h 98"/>
                <a:gd name="T40" fmla="*/ 72 w 200"/>
                <a:gd name="T41" fmla="*/ 93 h 98"/>
                <a:gd name="T42" fmla="*/ 67 w 200"/>
                <a:gd name="T43" fmla="*/ 96 h 98"/>
                <a:gd name="T44" fmla="*/ 60 w 200"/>
                <a:gd name="T45" fmla="*/ 98 h 98"/>
                <a:gd name="T46" fmla="*/ 39 w 200"/>
                <a:gd name="T47" fmla="*/ 98 h 98"/>
                <a:gd name="T48" fmla="*/ 34 w 200"/>
                <a:gd name="T49" fmla="*/ 98 h 98"/>
                <a:gd name="T50" fmla="*/ 28 w 200"/>
                <a:gd name="T51" fmla="*/ 95 h 98"/>
                <a:gd name="T52" fmla="*/ 22 w 200"/>
                <a:gd name="T53" fmla="*/ 92 h 98"/>
                <a:gd name="T54" fmla="*/ 15 w 200"/>
                <a:gd name="T55" fmla="*/ 89 h 98"/>
                <a:gd name="T56" fmla="*/ 9 w 200"/>
                <a:gd name="T57" fmla="*/ 85 h 98"/>
                <a:gd name="T58" fmla="*/ 4 w 200"/>
                <a:gd name="T59" fmla="*/ 81 h 98"/>
                <a:gd name="T60" fmla="*/ 1 w 200"/>
                <a:gd name="T61" fmla="*/ 77 h 98"/>
                <a:gd name="T62" fmla="*/ 0 w 200"/>
                <a:gd name="T63" fmla="*/ 74 h 98"/>
                <a:gd name="T64" fmla="*/ 5 w 200"/>
                <a:gd name="T65" fmla="*/ 71 h 98"/>
                <a:gd name="T66" fmla="*/ 10 w 200"/>
                <a:gd name="T67" fmla="*/ 67 h 98"/>
                <a:gd name="T68" fmla="*/ 14 w 200"/>
                <a:gd name="T69" fmla="*/ 60 h 98"/>
                <a:gd name="T70" fmla="*/ 20 w 200"/>
                <a:gd name="T71" fmla="*/ 53 h 98"/>
                <a:gd name="T72" fmla="*/ 23 w 200"/>
                <a:gd name="T73" fmla="*/ 45 h 98"/>
                <a:gd name="T74" fmla="*/ 27 w 200"/>
                <a:gd name="T75" fmla="*/ 37 h 98"/>
                <a:gd name="T76" fmla="*/ 30 w 200"/>
                <a:gd name="T77" fmla="*/ 28 h 98"/>
                <a:gd name="T78" fmla="*/ 33 w 200"/>
                <a:gd name="T79" fmla="*/ 19 h 98"/>
                <a:gd name="T80" fmla="*/ 66 w 200"/>
                <a:gd name="T81" fmla="*/ 14 h 98"/>
                <a:gd name="T82" fmla="*/ 103 w 200"/>
                <a:gd name="T83" fmla="*/ 9 h 98"/>
                <a:gd name="T84" fmla="*/ 145 w 200"/>
                <a:gd name="T85" fmla="*/ 4 h 98"/>
                <a:gd name="T86" fmla="*/ 193 w 200"/>
                <a:gd name="T87" fmla="*/ 0 h 98"/>
                <a:gd name="T88" fmla="*/ 166 w 200"/>
                <a:gd name="T89" fmla="*/ 31 h 98"/>
                <a:gd name="T90" fmla="*/ 166 w 200"/>
                <a:gd name="T91" fmla="*/ 34 h 98"/>
                <a:gd name="T92" fmla="*/ 164 w 200"/>
                <a:gd name="T93" fmla="*/ 37 h 98"/>
                <a:gd name="T94" fmla="*/ 162 w 200"/>
                <a:gd name="T95" fmla="*/ 39 h 98"/>
                <a:gd name="T96" fmla="*/ 161 w 200"/>
                <a:gd name="T97" fmla="*/ 41 h 98"/>
                <a:gd name="T98" fmla="*/ 157 w 200"/>
                <a:gd name="T99" fmla="*/ 45 h 98"/>
                <a:gd name="T100" fmla="*/ 156 w 200"/>
                <a:gd name="T101" fmla="*/ 47 h 98"/>
                <a:gd name="T102" fmla="*/ 156 w 200"/>
                <a:gd name="T103" fmla="*/ 49 h 98"/>
                <a:gd name="T104" fmla="*/ 157 w 200"/>
                <a:gd name="T105" fmla="*/ 50 h 98"/>
                <a:gd name="T106" fmla="*/ 159 w 200"/>
                <a:gd name="T107" fmla="*/ 50 h 98"/>
                <a:gd name="T108" fmla="*/ 163 w 200"/>
                <a:gd name="T109" fmla="*/ 51 h 98"/>
                <a:gd name="T110" fmla="*/ 177 w 200"/>
                <a:gd name="T111" fmla="*/ 53 h 98"/>
                <a:gd name="T112" fmla="*/ 200 w 200"/>
                <a:gd name="T113" fmla="*/ 55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1" name="Freeform 230">
              <a:extLst>
                <a:ext uri="{FF2B5EF4-FFF2-40B4-BE49-F238E27FC236}">
                  <a16:creationId xmlns="" xmlns:a16="http://schemas.microsoft.com/office/drawing/2014/main" id="{C9FF4689-BCD2-0347-9078-0814964688DC}"/>
                </a:ext>
              </a:extLst>
            </p:cNvPr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4089400" y="1978025"/>
              <a:ext cx="84138" cy="73025"/>
            </a:xfrm>
            <a:custGeom>
              <a:avLst/>
              <a:gdLst>
                <a:gd name="T0" fmla="*/ 0 w 186"/>
                <a:gd name="T1" fmla="*/ 112 h 142"/>
                <a:gd name="T2" fmla="*/ 2 w 186"/>
                <a:gd name="T3" fmla="*/ 116 h 142"/>
                <a:gd name="T4" fmla="*/ 3 w 186"/>
                <a:gd name="T5" fmla="*/ 107 h 142"/>
                <a:gd name="T6" fmla="*/ 3 w 186"/>
                <a:gd name="T7" fmla="*/ 93 h 142"/>
                <a:gd name="T8" fmla="*/ 9 w 186"/>
                <a:gd name="T9" fmla="*/ 82 h 142"/>
                <a:gd name="T10" fmla="*/ 17 w 186"/>
                <a:gd name="T11" fmla="*/ 69 h 142"/>
                <a:gd name="T12" fmla="*/ 20 w 186"/>
                <a:gd name="T13" fmla="*/ 56 h 142"/>
                <a:gd name="T14" fmla="*/ 23 w 186"/>
                <a:gd name="T15" fmla="*/ 46 h 142"/>
                <a:gd name="T16" fmla="*/ 28 w 186"/>
                <a:gd name="T17" fmla="*/ 37 h 142"/>
                <a:gd name="T18" fmla="*/ 35 w 186"/>
                <a:gd name="T19" fmla="*/ 32 h 142"/>
                <a:gd name="T20" fmla="*/ 41 w 186"/>
                <a:gd name="T21" fmla="*/ 38 h 142"/>
                <a:gd name="T22" fmla="*/ 43 w 186"/>
                <a:gd name="T23" fmla="*/ 49 h 142"/>
                <a:gd name="T24" fmla="*/ 47 w 186"/>
                <a:gd name="T25" fmla="*/ 58 h 142"/>
                <a:gd name="T26" fmla="*/ 55 w 186"/>
                <a:gd name="T27" fmla="*/ 65 h 142"/>
                <a:gd name="T28" fmla="*/ 87 w 186"/>
                <a:gd name="T29" fmla="*/ 67 h 142"/>
                <a:gd name="T30" fmla="*/ 79 w 186"/>
                <a:gd name="T31" fmla="*/ 41 h 142"/>
                <a:gd name="T32" fmla="*/ 69 w 186"/>
                <a:gd name="T33" fmla="*/ 36 h 142"/>
                <a:gd name="T34" fmla="*/ 63 w 186"/>
                <a:gd name="T35" fmla="*/ 30 h 142"/>
                <a:gd name="T36" fmla="*/ 61 w 186"/>
                <a:gd name="T37" fmla="*/ 23 h 142"/>
                <a:gd name="T38" fmla="*/ 70 w 186"/>
                <a:gd name="T39" fmla="*/ 17 h 142"/>
                <a:gd name="T40" fmla="*/ 87 w 186"/>
                <a:gd name="T41" fmla="*/ 14 h 142"/>
                <a:gd name="T42" fmla="*/ 98 w 186"/>
                <a:gd name="T43" fmla="*/ 10 h 142"/>
                <a:gd name="T44" fmla="*/ 111 w 186"/>
                <a:gd name="T45" fmla="*/ 6 h 142"/>
                <a:gd name="T46" fmla="*/ 130 w 186"/>
                <a:gd name="T47" fmla="*/ 3 h 142"/>
                <a:gd name="T48" fmla="*/ 147 w 186"/>
                <a:gd name="T49" fmla="*/ 1 h 142"/>
                <a:gd name="T50" fmla="*/ 159 w 186"/>
                <a:gd name="T51" fmla="*/ 2 h 142"/>
                <a:gd name="T52" fmla="*/ 176 w 186"/>
                <a:gd name="T53" fmla="*/ 1 h 142"/>
                <a:gd name="T54" fmla="*/ 183 w 186"/>
                <a:gd name="T55" fmla="*/ 10 h 142"/>
                <a:gd name="T56" fmla="*/ 178 w 186"/>
                <a:gd name="T57" fmla="*/ 26 h 142"/>
                <a:gd name="T58" fmla="*/ 169 w 186"/>
                <a:gd name="T59" fmla="*/ 40 h 142"/>
                <a:gd name="T60" fmla="*/ 159 w 186"/>
                <a:gd name="T61" fmla="*/ 51 h 142"/>
                <a:gd name="T62" fmla="*/ 155 w 186"/>
                <a:gd name="T63" fmla="*/ 63 h 142"/>
                <a:gd name="T64" fmla="*/ 153 w 186"/>
                <a:gd name="T65" fmla="*/ 76 h 142"/>
                <a:gd name="T66" fmla="*/ 120 w 186"/>
                <a:gd name="T67" fmla="*/ 142 h 142"/>
                <a:gd name="T68" fmla="*/ 80 w 186"/>
                <a:gd name="T69" fmla="*/ 122 h 142"/>
                <a:gd name="T70" fmla="*/ 35 w 186"/>
                <a:gd name="T71" fmla="*/ 117 h 142"/>
                <a:gd name="T72" fmla="*/ 8 w 186"/>
                <a:gd name="T73" fmla="*/ 113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2" name="Freeform 231">
              <a:extLst>
                <a:ext uri="{FF2B5EF4-FFF2-40B4-BE49-F238E27FC236}">
                  <a16:creationId xmlns="" xmlns:a16="http://schemas.microsoft.com/office/drawing/2014/main" id="{3763DFDA-5268-CD44-A5CC-AB216956E313}"/>
                </a:ext>
              </a:extLst>
            </p:cNvPr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4070350" y="2041525"/>
              <a:ext cx="84138" cy="57150"/>
            </a:xfrm>
            <a:custGeom>
              <a:avLst/>
              <a:gdLst>
                <a:gd name="T0" fmla="*/ 192 w 192"/>
                <a:gd name="T1" fmla="*/ 61 h 105"/>
                <a:gd name="T2" fmla="*/ 189 w 192"/>
                <a:gd name="T3" fmla="*/ 62 h 105"/>
                <a:gd name="T4" fmla="*/ 184 w 192"/>
                <a:gd name="T5" fmla="*/ 63 h 105"/>
                <a:gd name="T6" fmla="*/ 180 w 192"/>
                <a:gd name="T7" fmla="*/ 64 h 105"/>
                <a:gd name="T8" fmla="*/ 177 w 192"/>
                <a:gd name="T9" fmla="*/ 67 h 105"/>
                <a:gd name="T10" fmla="*/ 168 w 192"/>
                <a:gd name="T11" fmla="*/ 72 h 105"/>
                <a:gd name="T12" fmla="*/ 160 w 192"/>
                <a:gd name="T13" fmla="*/ 79 h 105"/>
                <a:gd name="T14" fmla="*/ 154 w 192"/>
                <a:gd name="T15" fmla="*/ 86 h 105"/>
                <a:gd name="T16" fmla="*/ 147 w 192"/>
                <a:gd name="T17" fmla="*/ 93 h 105"/>
                <a:gd name="T18" fmla="*/ 143 w 192"/>
                <a:gd name="T19" fmla="*/ 99 h 105"/>
                <a:gd name="T20" fmla="*/ 139 w 192"/>
                <a:gd name="T21" fmla="*/ 105 h 105"/>
                <a:gd name="T22" fmla="*/ 120 w 192"/>
                <a:gd name="T23" fmla="*/ 97 h 105"/>
                <a:gd name="T24" fmla="*/ 102 w 192"/>
                <a:gd name="T25" fmla="*/ 89 h 105"/>
                <a:gd name="T26" fmla="*/ 86 w 192"/>
                <a:gd name="T27" fmla="*/ 80 h 105"/>
                <a:gd name="T28" fmla="*/ 69 w 192"/>
                <a:gd name="T29" fmla="*/ 71 h 105"/>
                <a:gd name="T30" fmla="*/ 53 w 192"/>
                <a:gd name="T31" fmla="*/ 61 h 105"/>
                <a:gd name="T32" fmla="*/ 36 w 192"/>
                <a:gd name="T33" fmla="*/ 53 h 105"/>
                <a:gd name="T34" fmla="*/ 19 w 192"/>
                <a:gd name="T35" fmla="*/ 44 h 105"/>
                <a:gd name="T36" fmla="*/ 0 w 192"/>
                <a:gd name="T37" fmla="*/ 37 h 105"/>
                <a:gd name="T38" fmla="*/ 0 w 192"/>
                <a:gd name="T39" fmla="*/ 13 h 105"/>
                <a:gd name="T40" fmla="*/ 7 w 192"/>
                <a:gd name="T41" fmla="*/ 7 h 105"/>
                <a:gd name="T42" fmla="*/ 16 w 192"/>
                <a:gd name="T43" fmla="*/ 4 h 105"/>
                <a:gd name="T44" fmla="*/ 29 w 192"/>
                <a:gd name="T45" fmla="*/ 1 h 105"/>
                <a:gd name="T46" fmla="*/ 40 w 192"/>
                <a:gd name="T47" fmla="*/ 0 h 105"/>
                <a:gd name="T48" fmla="*/ 60 w 192"/>
                <a:gd name="T49" fmla="*/ 2 h 105"/>
                <a:gd name="T50" fmla="*/ 93 w 192"/>
                <a:gd name="T51" fmla="*/ 5 h 105"/>
                <a:gd name="T52" fmla="*/ 111 w 192"/>
                <a:gd name="T53" fmla="*/ 7 h 105"/>
                <a:gd name="T54" fmla="*/ 128 w 192"/>
                <a:gd name="T55" fmla="*/ 7 h 105"/>
                <a:gd name="T56" fmla="*/ 143 w 192"/>
                <a:gd name="T57" fmla="*/ 7 h 105"/>
                <a:gd name="T58" fmla="*/ 153 w 192"/>
                <a:gd name="T59" fmla="*/ 6 h 105"/>
                <a:gd name="T60" fmla="*/ 155 w 192"/>
                <a:gd name="T61" fmla="*/ 11 h 105"/>
                <a:gd name="T62" fmla="*/ 159 w 192"/>
                <a:gd name="T63" fmla="*/ 17 h 105"/>
                <a:gd name="T64" fmla="*/ 161 w 192"/>
                <a:gd name="T65" fmla="*/ 20 h 105"/>
                <a:gd name="T66" fmla="*/ 164 w 192"/>
                <a:gd name="T67" fmla="*/ 23 h 105"/>
                <a:gd name="T68" fmla="*/ 165 w 192"/>
                <a:gd name="T69" fmla="*/ 27 h 105"/>
                <a:gd name="T70" fmla="*/ 166 w 192"/>
                <a:gd name="T71" fmla="*/ 31 h 105"/>
                <a:gd name="T72" fmla="*/ 170 w 192"/>
                <a:gd name="T73" fmla="*/ 32 h 105"/>
                <a:gd name="T74" fmla="*/ 177 w 192"/>
                <a:gd name="T75" fmla="*/ 33 h 105"/>
                <a:gd name="T76" fmla="*/ 180 w 192"/>
                <a:gd name="T77" fmla="*/ 34 h 105"/>
                <a:gd name="T78" fmla="*/ 183 w 192"/>
                <a:gd name="T79" fmla="*/ 34 h 105"/>
                <a:gd name="T80" fmla="*/ 188 w 192"/>
                <a:gd name="T81" fmla="*/ 33 h 105"/>
                <a:gd name="T82" fmla="*/ 192 w 192"/>
                <a:gd name="T83" fmla="*/ 31 h 105"/>
                <a:gd name="T84" fmla="*/ 192 w 192"/>
                <a:gd name="T85" fmla="*/ 61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3" name="Freeform 232">
              <a:extLst>
                <a:ext uri="{FF2B5EF4-FFF2-40B4-BE49-F238E27FC236}">
                  <a16:creationId xmlns="" xmlns:a16="http://schemas.microsoft.com/office/drawing/2014/main" id="{24F79353-78C3-5C48-A7D4-7C93211C1FB0}"/>
                </a:ext>
              </a:extLst>
            </p:cNvPr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4830763" y="2595563"/>
              <a:ext cx="33337" cy="131762"/>
            </a:xfrm>
            <a:custGeom>
              <a:avLst/>
              <a:gdLst>
                <a:gd name="T0" fmla="*/ 33 w 80"/>
                <a:gd name="T1" fmla="*/ 0 h 254"/>
                <a:gd name="T2" fmla="*/ 37 w 80"/>
                <a:gd name="T3" fmla="*/ 2 h 254"/>
                <a:gd name="T4" fmla="*/ 40 w 80"/>
                <a:gd name="T5" fmla="*/ 4 h 254"/>
                <a:gd name="T6" fmla="*/ 43 w 80"/>
                <a:gd name="T7" fmla="*/ 7 h 254"/>
                <a:gd name="T8" fmla="*/ 46 w 80"/>
                <a:gd name="T9" fmla="*/ 10 h 254"/>
                <a:gd name="T10" fmla="*/ 52 w 80"/>
                <a:gd name="T11" fmla="*/ 18 h 254"/>
                <a:gd name="T12" fmla="*/ 56 w 80"/>
                <a:gd name="T13" fmla="*/ 25 h 254"/>
                <a:gd name="T14" fmla="*/ 62 w 80"/>
                <a:gd name="T15" fmla="*/ 32 h 254"/>
                <a:gd name="T16" fmla="*/ 67 w 80"/>
                <a:gd name="T17" fmla="*/ 38 h 254"/>
                <a:gd name="T18" fmla="*/ 70 w 80"/>
                <a:gd name="T19" fmla="*/ 40 h 254"/>
                <a:gd name="T20" fmla="*/ 73 w 80"/>
                <a:gd name="T21" fmla="*/ 42 h 254"/>
                <a:gd name="T22" fmla="*/ 76 w 80"/>
                <a:gd name="T23" fmla="*/ 43 h 254"/>
                <a:gd name="T24" fmla="*/ 80 w 80"/>
                <a:gd name="T25" fmla="*/ 44 h 254"/>
                <a:gd name="T26" fmla="*/ 80 w 80"/>
                <a:gd name="T27" fmla="*/ 53 h 254"/>
                <a:gd name="T28" fmla="*/ 80 w 80"/>
                <a:gd name="T29" fmla="*/ 62 h 254"/>
                <a:gd name="T30" fmla="*/ 53 w 80"/>
                <a:gd name="T31" fmla="*/ 254 h 254"/>
                <a:gd name="T32" fmla="*/ 0 w 80"/>
                <a:gd name="T33" fmla="*/ 93 h 254"/>
                <a:gd name="T34" fmla="*/ 4 w 80"/>
                <a:gd name="T35" fmla="*/ 88 h 254"/>
                <a:gd name="T36" fmla="*/ 11 w 80"/>
                <a:gd name="T37" fmla="*/ 71 h 254"/>
                <a:gd name="T38" fmla="*/ 17 w 80"/>
                <a:gd name="T39" fmla="*/ 57 h 254"/>
                <a:gd name="T40" fmla="*/ 22 w 80"/>
                <a:gd name="T41" fmla="*/ 41 h 254"/>
                <a:gd name="T42" fmla="*/ 28 w 80"/>
                <a:gd name="T43" fmla="*/ 23 h 254"/>
                <a:gd name="T44" fmla="*/ 33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4" name="Freeform 233">
              <a:extLst>
                <a:ext uri="{FF2B5EF4-FFF2-40B4-BE49-F238E27FC236}">
                  <a16:creationId xmlns="" xmlns:a16="http://schemas.microsoft.com/office/drawing/2014/main" id="{FF11696A-98DF-AC46-9B16-842E70A8691A}"/>
                </a:ext>
              </a:extLst>
            </p:cNvPr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779963" y="2647950"/>
              <a:ext cx="69850" cy="130175"/>
            </a:xfrm>
            <a:custGeom>
              <a:avLst/>
              <a:gdLst>
                <a:gd name="T0" fmla="*/ 114 w 167"/>
                <a:gd name="T1" fmla="*/ 0 h 259"/>
                <a:gd name="T2" fmla="*/ 167 w 167"/>
                <a:gd name="T3" fmla="*/ 155 h 259"/>
                <a:gd name="T4" fmla="*/ 121 w 167"/>
                <a:gd name="T5" fmla="*/ 259 h 259"/>
                <a:gd name="T6" fmla="*/ 113 w 167"/>
                <a:gd name="T7" fmla="*/ 259 h 259"/>
                <a:gd name="T8" fmla="*/ 107 w 167"/>
                <a:gd name="T9" fmla="*/ 257 h 259"/>
                <a:gd name="T10" fmla="*/ 100 w 167"/>
                <a:gd name="T11" fmla="*/ 254 h 259"/>
                <a:gd name="T12" fmla="*/ 95 w 167"/>
                <a:gd name="T13" fmla="*/ 251 h 259"/>
                <a:gd name="T14" fmla="*/ 89 w 167"/>
                <a:gd name="T15" fmla="*/ 245 h 259"/>
                <a:gd name="T16" fmla="*/ 85 w 167"/>
                <a:gd name="T17" fmla="*/ 240 h 259"/>
                <a:gd name="T18" fmla="*/ 80 w 167"/>
                <a:gd name="T19" fmla="*/ 235 h 259"/>
                <a:gd name="T20" fmla="*/ 76 w 167"/>
                <a:gd name="T21" fmla="*/ 229 h 259"/>
                <a:gd name="T22" fmla="*/ 69 w 167"/>
                <a:gd name="T23" fmla="*/ 217 h 259"/>
                <a:gd name="T24" fmla="*/ 65 w 167"/>
                <a:gd name="T25" fmla="*/ 205 h 259"/>
                <a:gd name="T26" fmla="*/ 62 w 167"/>
                <a:gd name="T27" fmla="*/ 194 h 259"/>
                <a:gd name="T28" fmla="*/ 62 w 167"/>
                <a:gd name="T29" fmla="*/ 185 h 259"/>
                <a:gd name="T30" fmla="*/ 55 w 167"/>
                <a:gd name="T31" fmla="*/ 184 h 259"/>
                <a:gd name="T32" fmla="*/ 51 w 167"/>
                <a:gd name="T33" fmla="*/ 183 h 259"/>
                <a:gd name="T34" fmla="*/ 45 w 167"/>
                <a:gd name="T35" fmla="*/ 182 h 259"/>
                <a:gd name="T36" fmla="*/ 42 w 167"/>
                <a:gd name="T37" fmla="*/ 180 h 259"/>
                <a:gd name="T38" fmla="*/ 39 w 167"/>
                <a:gd name="T39" fmla="*/ 177 h 259"/>
                <a:gd name="T40" fmla="*/ 36 w 167"/>
                <a:gd name="T41" fmla="*/ 174 h 259"/>
                <a:gd name="T42" fmla="*/ 34 w 167"/>
                <a:gd name="T43" fmla="*/ 170 h 259"/>
                <a:gd name="T44" fmla="*/ 32 w 167"/>
                <a:gd name="T45" fmla="*/ 167 h 259"/>
                <a:gd name="T46" fmla="*/ 30 w 167"/>
                <a:gd name="T47" fmla="*/ 158 h 259"/>
                <a:gd name="T48" fmla="*/ 29 w 167"/>
                <a:gd name="T49" fmla="*/ 149 h 259"/>
                <a:gd name="T50" fmla="*/ 28 w 167"/>
                <a:gd name="T51" fmla="*/ 140 h 259"/>
                <a:gd name="T52" fmla="*/ 28 w 167"/>
                <a:gd name="T53" fmla="*/ 129 h 259"/>
                <a:gd name="T54" fmla="*/ 21 w 167"/>
                <a:gd name="T55" fmla="*/ 129 h 259"/>
                <a:gd name="T56" fmla="*/ 16 w 167"/>
                <a:gd name="T57" fmla="*/ 127 h 259"/>
                <a:gd name="T58" fmla="*/ 11 w 167"/>
                <a:gd name="T59" fmla="*/ 125 h 259"/>
                <a:gd name="T60" fmla="*/ 7 w 167"/>
                <a:gd name="T61" fmla="*/ 121 h 259"/>
                <a:gd name="T62" fmla="*/ 5 w 167"/>
                <a:gd name="T63" fmla="*/ 117 h 259"/>
                <a:gd name="T64" fmla="*/ 2 w 167"/>
                <a:gd name="T65" fmla="*/ 112 h 259"/>
                <a:gd name="T66" fmla="*/ 0 w 167"/>
                <a:gd name="T67" fmla="*/ 107 h 259"/>
                <a:gd name="T68" fmla="*/ 0 w 167"/>
                <a:gd name="T69" fmla="*/ 101 h 259"/>
                <a:gd name="T70" fmla="*/ 0 w 167"/>
                <a:gd name="T71" fmla="*/ 75 h 259"/>
                <a:gd name="T72" fmla="*/ 1 w 167"/>
                <a:gd name="T73" fmla="*/ 50 h 259"/>
                <a:gd name="T74" fmla="*/ 12 w 167"/>
                <a:gd name="T75" fmla="*/ 52 h 259"/>
                <a:gd name="T76" fmla="*/ 22 w 167"/>
                <a:gd name="T77" fmla="*/ 53 h 259"/>
                <a:gd name="T78" fmla="*/ 32 w 167"/>
                <a:gd name="T79" fmla="*/ 53 h 259"/>
                <a:gd name="T80" fmla="*/ 42 w 167"/>
                <a:gd name="T81" fmla="*/ 52 h 259"/>
                <a:gd name="T82" fmla="*/ 50 w 167"/>
                <a:gd name="T83" fmla="*/ 51 h 259"/>
                <a:gd name="T84" fmla="*/ 58 w 167"/>
                <a:gd name="T85" fmla="*/ 49 h 259"/>
                <a:gd name="T86" fmla="*/ 66 w 167"/>
                <a:gd name="T87" fmla="*/ 47 h 259"/>
                <a:gd name="T88" fmla="*/ 73 w 167"/>
                <a:gd name="T89" fmla="*/ 44 h 259"/>
                <a:gd name="T90" fmla="*/ 79 w 167"/>
                <a:gd name="T91" fmla="*/ 40 h 259"/>
                <a:gd name="T92" fmla="*/ 86 w 167"/>
                <a:gd name="T93" fmla="*/ 36 h 259"/>
                <a:gd name="T94" fmla="*/ 91 w 167"/>
                <a:gd name="T95" fmla="*/ 31 h 259"/>
                <a:gd name="T96" fmla="*/ 97 w 167"/>
                <a:gd name="T97" fmla="*/ 26 h 259"/>
                <a:gd name="T98" fmla="*/ 107 w 167"/>
                <a:gd name="T99" fmla="*/ 13 h 259"/>
                <a:gd name="T100" fmla="*/ 114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5" name="Freeform 234">
              <a:extLst>
                <a:ext uri="{FF2B5EF4-FFF2-40B4-BE49-F238E27FC236}">
                  <a16:creationId xmlns="" xmlns:a16="http://schemas.microsoft.com/office/drawing/2014/main" id="{28ED7233-B6E2-0A47-B4AE-936F16A89AAC}"/>
                </a:ext>
              </a:extLst>
            </p:cNvPr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3781425" y="1901825"/>
              <a:ext cx="96838" cy="144463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6" name="Freeform 235">
              <a:extLst>
                <a:ext uri="{FF2B5EF4-FFF2-40B4-BE49-F238E27FC236}">
                  <a16:creationId xmlns="" xmlns:a16="http://schemas.microsoft.com/office/drawing/2014/main" id="{5EFDD414-E9AA-1548-8FD7-42EE8D57C6FF}"/>
                </a:ext>
              </a:extLst>
            </p:cNvPr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3594100" y="2813050"/>
              <a:ext cx="306388" cy="390525"/>
            </a:xfrm>
            <a:custGeom>
              <a:avLst/>
              <a:gdLst>
                <a:gd name="T0" fmla="*/ 94 w 232"/>
                <a:gd name="T1" fmla="*/ 246 h 248"/>
                <a:gd name="T2" fmla="*/ 96 w 232"/>
                <a:gd name="T3" fmla="*/ 243 h 248"/>
                <a:gd name="T4" fmla="*/ 98 w 232"/>
                <a:gd name="T5" fmla="*/ 238 h 248"/>
                <a:gd name="T6" fmla="*/ 100 w 232"/>
                <a:gd name="T7" fmla="*/ 232 h 248"/>
                <a:gd name="T8" fmla="*/ 103 w 232"/>
                <a:gd name="T9" fmla="*/ 231 h 248"/>
                <a:gd name="T10" fmla="*/ 104 w 232"/>
                <a:gd name="T11" fmla="*/ 238 h 248"/>
                <a:gd name="T12" fmla="*/ 106 w 232"/>
                <a:gd name="T13" fmla="*/ 241 h 248"/>
                <a:gd name="T14" fmla="*/ 108 w 232"/>
                <a:gd name="T15" fmla="*/ 242 h 248"/>
                <a:gd name="T16" fmla="*/ 110 w 232"/>
                <a:gd name="T17" fmla="*/ 242 h 248"/>
                <a:gd name="T18" fmla="*/ 113 w 232"/>
                <a:gd name="T19" fmla="*/ 241 h 248"/>
                <a:gd name="T20" fmla="*/ 116 w 232"/>
                <a:gd name="T21" fmla="*/ 238 h 248"/>
                <a:gd name="T22" fmla="*/ 216 w 232"/>
                <a:gd name="T23" fmla="*/ 234 h 248"/>
                <a:gd name="T24" fmla="*/ 213 w 232"/>
                <a:gd name="T25" fmla="*/ 204 h 248"/>
                <a:gd name="T26" fmla="*/ 207 w 232"/>
                <a:gd name="T27" fmla="*/ 138 h 248"/>
                <a:gd name="T28" fmla="*/ 201 w 232"/>
                <a:gd name="T29" fmla="*/ 73 h 248"/>
                <a:gd name="T30" fmla="*/ 198 w 232"/>
                <a:gd name="T31" fmla="*/ 43 h 248"/>
                <a:gd name="T32" fmla="*/ 215 w 232"/>
                <a:gd name="T33" fmla="*/ 44 h 248"/>
                <a:gd name="T34" fmla="*/ 232 w 232"/>
                <a:gd name="T35" fmla="*/ 46 h 248"/>
                <a:gd name="T36" fmla="*/ 161 w 232"/>
                <a:gd name="T37" fmla="*/ 2 h 248"/>
                <a:gd name="T38" fmla="*/ 160 w 232"/>
                <a:gd name="T39" fmla="*/ 8 h 248"/>
                <a:gd name="T40" fmla="*/ 161 w 232"/>
                <a:gd name="T41" fmla="*/ 18 h 248"/>
                <a:gd name="T42" fmla="*/ 98 w 232"/>
                <a:gd name="T43" fmla="*/ 24 h 248"/>
                <a:gd name="T44" fmla="*/ 98 w 232"/>
                <a:gd name="T45" fmla="*/ 74 h 248"/>
                <a:gd name="T46" fmla="*/ 95 w 232"/>
                <a:gd name="T47" fmla="*/ 76 h 248"/>
                <a:gd name="T48" fmla="*/ 87 w 232"/>
                <a:gd name="T49" fmla="*/ 78 h 248"/>
                <a:gd name="T50" fmla="*/ 72 w 232"/>
                <a:gd name="T51" fmla="*/ 82 h 248"/>
                <a:gd name="T52" fmla="*/ 74 w 232"/>
                <a:gd name="T53" fmla="*/ 88 h 248"/>
                <a:gd name="T54" fmla="*/ 78 w 232"/>
                <a:gd name="T55" fmla="*/ 96 h 248"/>
                <a:gd name="T56" fmla="*/ 80 w 232"/>
                <a:gd name="T57" fmla="*/ 105 h 248"/>
                <a:gd name="T58" fmla="*/ 81 w 232"/>
                <a:gd name="T59" fmla="*/ 115 h 248"/>
                <a:gd name="T60" fmla="*/ 9 w 232"/>
                <a:gd name="T61" fmla="*/ 119 h 248"/>
                <a:gd name="T62" fmla="*/ 5 w 232"/>
                <a:gd name="T63" fmla="*/ 130 h 248"/>
                <a:gd name="T64" fmla="*/ 6 w 232"/>
                <a:gd name="T65" fmla="*/ 143 h 248"/>
                <a:gd name="T66" fmla="*/ 8 w 232"/>
                <a:gd name="T67" fmla="*/ 155 h 248"/>
                <a:gd name="T68" fmla="*/ 9 w 232"/>
                <a:gd name="T69" fmla="*/ 168 h 248"/>
                <a:gd name="T70" fmla="*/ 9 w 232"/>
                <a:gd name="T71" fmla="*/ 182 h 248"/>
                <a:gd name="T72" fmla="*/ 8 w 232"/>
                <a:gd name="T73" fmla="*/ 194 h 248"/>
                <a:gd name="T74" fmla="*/ 6 w 232"/>
                <a:gd name="T75" fmla="*/ 206 h 248"/>
                <a:gd name="T76" fmla="*/ 2 w 232"/>
                <a:gd name="T77" fmla="*/ 216 h 248"/>
                <a:gd name="T78" fmla="*/ 2 w 232"/>
                <a:gd name="T79" fmla="*/ 219 h 248"/>
                <a:gd name="T80" fmla="*/ 3 w 232"/>
                <a:gd name="T81" fmla="*/ 220 h 248"/>
                <a:gd name="T82" fmla="*/ 3 w 232"/>
                <a:gd name="T83" fmla="*/ 222 h 248"/>
                <a:gd name="T84" fmla="*/ 7 w 232"/>
                <a:gd name="T85" fmla="*/ 217 h 248"/>
                <a:gd name="T86" fmla="*/ 18 w 232"/>
                <a:gd name="T87" fmla="*/ 213 h 248"/>
                <a:gd name="T88" fmla="*/ 36 w 232"/>
                <a:gd name="T89" fmla="*/ 207 h 248"/>
                <a:gd name="T90" fmla="*/ 45 w 232"/>
                <a:gd name="T91" fmla="*/ 208 h 248"/>
                <a:gd name="T92" fmla="*/ 51 w 232"/>
                <a:gd name="T93" fmla="*/ 212 h 248"/>
                <a:gd name="T94" fmla="*/ 56 w 232"/>
                <a:gd name="T95" fmla="*/ 214 h 248"/>
                <a:gd name="T96" fmla="*/ 62 w 232"/>
                <a:gd name="T97" fmla="*/ 215 h 248"/>
                <a:gd name="T98" fmla="*/ 66 w 232"/>
                <a:gd name="T99" fmla="*/ 219 h 248"/>
                <a:gd name="T100" fmla="*/ 67 w 232"/>
                <a:gd name="T101" fmla="*/ 225 h 248"/>
                <a:gd name="T102" fmla="*/ 70 w 232"/>
                <a:gd name="T103" fmla="*/ 231 h 248"/>
                <a:gd name="T104" fmla="*/ 74 w 232"/>
                <a:gd name="T105" fmla="*/ 235 h 248"/>
                <a:gd name="T106" fmla="*/ 85 w 232"/>
                <a:gd name="T107" fmla="*/ 243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" name="Freeform 236">
              <a:extLst>
                <a:ext uri="{FF2B5EF4-FFF2-40B4-BE49-F238E27FC236}">
                  <a16:creationId xmlns="" xmlns:a16="http://schemas.microsoft.com/office/drawing/2014/main" id="{6D26F23A-6E63-6946-B02E-EBBA422529FC}"/>
                </a:ext>
              </a:extLst>
            </p:cNvPr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3709988" y="2873375"/>
              <a:ext cx="414337" cy="468313"/>
            </a:xfrm>
            <a:custGeom>
              <a:avLst/>
              <a:gdLst>
                <a:gd name="T0" fmla="*/ 90 w 948"/>
                <a:gd name="T1" fmla="*/ 788 h 893"/>
                <a:gd name="T2" fmla="*/ 121 w 948"/>
                <a:gd name="T3" fmla="*/ 788 h 893"/>
                <a:gd name="T4" fmla="*/ 146 w 948"/>
                <a:gd name="T5" fmla="*/ 783 h 893"/>
                <a:gd name="T6" fmla="*/ 186 w 948"/>
                <a:gd name="T7" fmla="*/ 776 h 893"/>
                <a:gd name="T8" fmla="*/ 197 w 948"/>
                <a:gd name="T9" fmla="*/ 813 h 893"/>
                <a:gd name="T10" fmla="*/ 212 w 948"/>
                <a:gd name="T11" fmla="*/ 835 h 893"/>
                <a:gd name="T12" fmla="*/ 226 w 948"/>
                <a:gd name="T13" fmla="*/ 846 h 893"/>
                <a:gd name="T14" fmla="*/ 246 w 948"/>
                <a:gd name="T15" fmla="*/ 850 h 893"/>
                <a:gd name="T16" fmla="*/ 246 w 948"/>
                <a:gd name="T17" fmla="*/ 881 h 893"/>
                <a:gd name="T18" fmla="*/ 326 w 948"/>
                <a:gd name="T19" fmla="*/ 889 h 893"/>
                <a:gd name="T20" fmla="*/ 334 w 948"/>
                <a:gd name="T21" fmla="*/ 876 h 893"/>
                <a:gd name="T22" fmla="*/ 347 w 948"/>
                <a:gd name="T23" fmla="*/ 871 h 893"/>
                <a:gd name="T24" fmla="*/ 348 w 948"/>
                <a:gd name="T25" fmla="*/ 888 h 893"/>
                <a:gd name="T26" fmla="*/ 358 w 948"/>
                <a:gd name="T27" fmla="*/ 893 h 893"/>
                <a:gd name="T28" fmla="*/ 385 w 948"/>
                <a:gd name="T29" fmla="*/ 893 h 893"/>
                <a:gd name="T30" fmla="*/ 401 w 948"/>
                <a:gd name="T31" fmla="*/ 854 h 893"/>
                <a:gd name="T32" fmla="*/ 412 w 948"/>
                <a:gd name="T33" fmla="*/ 788 h 893"/>
                <a:gd name="T34" fmla="*/ 424 w 948"/>
                <a:gd name="T35" fmla="*/ 771 h 893"/>
                <a:gd name="T36" fmla="*/ 452 w 948"/>
                <a:gd name="T37" fmla="*/ 754 h 893"/>
                <a:gd name="T38" fmla="*/ 485 w 948"/>
                <a:gd name="T39" fmla="*/ 743 h 893"/>
                <a:gd name="T40" fmla="*/ 501 w 948"/>
                <a:gd name="T41" fmla="*/ 729 h 893"/>
                <a:gd name="T42" fmla="*/ 515 w 948"/>
                <a:gd name="T43" fmla="*/ 702 h 893"/>
                <a:gd name="T44" fmla="*/ 535 w 948"/>
                <a:gd name="T45" fmla="*/ 668 h 893"/>
                <a:gd name="T46" fmla="*/ 547 w 948"/>
                <a:gd name="T47" fmla="*/ 660 h 893"/>
                <a:gd name="T48" fmla="*/ 572 w 948"/>
                <a:gd name="T49" fmla="*/ 659 h 893"/>
                <a:gd name="T50" fmla="*/ 605 w 948"/>
                <a:gd name="T51" fmla="*/ 644 h 893"/>
                <a:gd name="T52" fmla="*/ 639 w 948"/>
                <a:gd name="T53" fmla="*/ 624 h 893"/>
                <a:gd name="T54" fmla="*/ 674 w 948"/>
                <a:gd name="T55" fmla="*/ 613 h 893"/>
                <a:gd name="T56" fmla="*/ 724 w 948"/>
                <a:gd name="T57" fmla="*/ 610 h 893"/>
                <a:gd name="T58" fmla="*/ 788 w 948"/>
                <a:gd name="T59" fmla="*/ 602 h 893"/>
                <a:gd name="T60" fmla="*/ 815 w 948"/>
                <a:gd name="T61" fmla="*/ 594 h 893"/>
                <a:gd name="T62" fmla="*/ 863 w 948"/>
                <a:gd name="T63" fmla="*/ 590 h 893"/>
                <a:gd name="T64" fmla="*/ 901 w 948"/>
                <a:gd name="T65" fmla="*/ 583 h 893"/>
                <a:gd name="T66" fmla="*/ 913 w 948"/>
                <a:gd name="T67" fmla="*/ 574 h 893"/>
                <a:gd name="T68" fmla="*/ 931 w 948"/>
                <a:gd name="T69" fmla="*/ 544 h 893"/>
                <a:gd name="T70" fmla="*/ 943 w 948"/>
                <a:gd name="T71" fmla="*/ 504 h 893"/>
                <a:gd name="T72" fmla="*/ 948 w 948"/>
                <a:gd name="T73" fmla="*/ 461 h 893"/>
                <a:gd name="T74" fmla="*/ 947 w 948"/>
                <a:gd name="T75" fmla="*/ 421 h 893"/>
                <a:gd name="T76" fmla="*/ 943 w 948"/>
                <a:gd name="T77" fmla="*/ 363 h 893"/>
                <a:gd name="T78" fmla="*/ 922 w 948"/>
                <a:gd name="T79" fmla="*/ 356 h 893"/>
                <a:gd name="T80" fmla="*/ 862 w 948"/>
                <a:gd name="T81" fmla="*/ 322 h 893"/>
                <a:gd name="T82" fmla="*/ 794 w 948"/>
                <a:gd name="T83" fmla="*/ 278 h 893"/>
                <a:gd name="T84" fmla="*/ 738 w 948"/>
                <a:gd name="T85" fmla="*/ 216 h 893"/>
                <a:gd name="T86" fmla="*/ 412 w 948"/>
                <a:gd name="T87" fmla="*/ 12 h 893"/>
                <a:gd name="T88" fmla="*/ 348 w 948"/>
                <a:gd name="T89" fmla="*/ 102 h 893"/>
                <a:gd name="T90" fmla="*/ 379 w 948"/>
                <a:gd name="T91" fmla="*/ 405 h 893"/>
                <a:gd name="T92" fmla="*/ 392 w 948"/>
                <a:gd name="T93" fmla="*/ 565 h 893"/>
                <a:gd name="T94" fmla="*/ 93 w 948"/>
                <a:gd name="T95" fmla="*/ 591 h 893"/>
                <a:gd name="T96" fmla="*/ 79 w 948"/>
                <a:gd name="T97" fmla="*/ 606 h 893"/>
                <a:gd name="T98" fmla="*/ 67 w 948"/>
                <a:gd name="T99" fmla="*/ 610 h 893"/>
                <a:gd name="T100" fmla="*/ 57 w 948"/>
                <a:gd name="T101" fmla="*/ 607 h 893"/>
                <a:gd name="T102" fmla="*/ 49 w 948"/>
                <a:gd name="T103" fmla="*/ 591 h 893"/>
                <a:gd name="T104" fmla="*/ 40 w 948"/>
                <a:gd name="T105" fmla="*/ 581 h 893"/>
                <a:gd name="T106" fmla="*/ 29 w 948"/>
                <a:gd name="T107" fmla="*/ 605 h 893"/>
                <a:gd name="T108" fmla="*/ 15 w 948"/>
                <a:gd name="T109" fmla="*/ 623 h 893"/>
                <a:gd name="T110" fmla="*/ 67 w 948"/>
                <a:gd name="T111" fmla="*/ 733 h 893"/>
                <a:gd name="T112" fmla="*/ 61 w 948"/>
                <a:gd name="T113" fmla="*/ 748 h 893"/>
                <a:gd name="T114" fmla="*/ 62 w 948"/>
                <a:gd name="T115" fmla="*/ 760 h 893"/>
                <a:gd name="T116" fmla="*/ 54 w 948"/>
                <a:gd name="T117" fmla="*/ 788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8" name="Freeform 237">
              <a:extLst>
                <a:ext uri="{FF2B5EF4-FFF2-40B4-BE49-F238E27FC236}">
                  <a16:creationId xmlns="" xmlns:a16="http://schemas.microsoft.com/office/drawing/2014/main" id="{D5E68CFA-5070-994B-A3ED-962856697387}"/>
                </a:ext>
              </a:extLst>
            </p:cNvPr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808413" y="2479675"/>
              <a:ext cx="493712" cy="579438"/>
            </a:xfrm>
            <a:custGeom>
              <a:avLst/>
              <a:gdLst>
                <a:gd name="T0" fmla="*/ 238 w 373"/>
                <a:gd name="T1" fmla="*/ 367 h 370"/>
                <a:gd name="T2" fmla="*/ 244 w 373"/>
                <a:gd name="T3" fmla="*/ 365 h 370"/>
                <a:gd name="T4" fmla="*/ 255 w 373"/>
                <a:gd name="T5" fmla="*/ 368 h 370"/>
                <a:gd name="T6" fmla="*/ 372 w 373"/>
                <a:gd name="T7" fmla="*/ 277 h 370"/>
                <a:gd name="T8" fmla="*/ 369 w 373"/>
                <a:gd name="T9" fmla="*/ 270 h 370"/>
                <a:gd name="T10" fmla="*/ 361 w 373"/>
                <a:gd name="T11" fmla="*/ 264 h 370"/>
                <a:gd name="T12" fmla="*/ 347 w 373"/>
                <a:gd name="T13" fmla="*/ 259 h 370"/>
                <a:gd name="T14" fmla="*/ 339 w 373"/>
                <a:gd name="T15" fmla="*/ 254 h 370"/>
                <a:gd name="T16" fmla="*/ 336 w 373"/>
                <a:gd name="T17" fmla="*/ 247 h 370"/>
                <a:gd name="T18" fmla="*/ 337 w 373"/>
                <a:gd name="T19" fmla="*/ 228 h 370"/>
                <a:gd name="T20" fmla="*/ 337 w 373"/>
                <a:gd name="T21" fmla="*/ 196 h 370"/>
                <a:gd name="T22" fmla="*/ 334 w 373"/>
                <a:gd name="T23" fmla="*/ 168 h 370"/>
                <a:gd name="T24" fmla="*/ 329 w 373"/>
                <a:gd name="T25" fmla="*/ 155 h 370"/>
                <a:gd name="T26" fmla="*/ 323 w 373"/>
                <a:gd name="T27" fmla="*/ 142 h 370"/>
                <a:gd name="T28" fmla="*/ 315 w 373"/>
                <a:gd name="T29" fmla="*/ 109 h 370"/>
                <a:gd name="T30" fmla="*/ 306 w 373"/>
                <a:gd name="T31" fmla="*/ 90 h 370"/>
                <a:gd name="T32" fmla="*/ 297 w 373"/>
                <a:gd name="T33" fmla="*/ 78 h 370"/>
                <a:gd name="T34" fmla="*/ 300 w 373"/>
                <a:gd name="T35" fmla="*/ 63 h 370"/>
                <a:gd name="T36" fmla="*/ 301 w 373"/>
                <a:gd name="T37" fmla="*/ 43 h 370"/>
                <a:gd name="T38" fmla="*/ 302 w 373"/>
                <a:gd name="T39" fmla="*/ 23 h 370"/>
                <a:gd name="T40" fmla="*/ 310 w 373"/>
                <a:gd name="T41" fmla="*/ 7 h 370"/>
                <a:gd name="T42" fmla="*/ 302 w 373"/>
                <a:gd name="T43" fmla="*/ 6 h 370"/>
                <a:gd name="T44" fmla="*/ 278 w 373"/>
                <a:gd name="T45" fmla="*/ 12 h 370"/>
                <a:gd name="T46" fmla="*/ 245 w 373"/>
                <a:gd name="T47" fmla="*/ 12 h 370"/>
                <a:gd name="T48" fmla="*/ 206 w 373"/>
                <a:gd name="T49" fmla="*/ 14 h 370"/>
                <a:gd name="T50" fmla="*/ 168 w 373"/>
                <a:gd name="T51" fmla="*/ 24 h 370"/>
                <a:gd name="T52" fmla="*/ 145 w 373"/>
                <a:gd name="T53" fmla="*/ 32 h 370"/>
                <a:gd name="T54" fmla="*/ 124 w 373"/>
                <a:gd name="T55" fmla="*/ 44 h 370"/>
                <a:gd name="T56" fmla="*/ 123 w 373"/>
                <a:gd name="T57" fmla="*/ 52 h 370"/>
                <a:gd name="T58" fmla="*/ 131 w 373"/>
                <a:gd name="T59" fmla="*/ 89 h 370"/>
                <a:gd name="T60" fmla="*/ 134 w 373"/>
                <a:gd name="T61" fmla="*/ 93 h 370"/>
                <a:gd name="T62" fmla="*/ 141 w 373"/>
                <a:gd name="T63" fmla="*/ 98 h 370"/>
                <a:gd name="T64" fmla="*/ 142 w 373"/>
                <a:gd name="T65" fmla="*/ 102 h 370"/>
                <a:gd name="T66" fmla="*/ 139 w 373"/>
                <a:gd name="T67" fmla="*/ 107 h 370"/>
                <a:gd name="T68" fmla="*/ 128 w 373"/>
                <a:gd name="T69" fmla="*/ 107 h 370"/>
                <a:gd name="T70" fmla="*/ 106 w 373"/>
                <a:gd name="T71" fmla="*/ 113 h 370"/>
                <a:gd name="T72" fmla="*/ 95 w 373"/>
                <a:gd name="T73" fmla="*/ 122 h 370"/>
                <a:gd name="T74" fmla="*/ 90 w 373"/>
                <a:gd name="T75" fmla="*/ 131 h 370"/>
                <a:gd name="T76" fmla="*/ 82 w 373"/>
                <a:gd name="T77" fmla="*/ 137 h 370"/>
                <a:gd name="T78" fmla="*/ 66 w 373"/>
                <a:gd name="T79" fmla="*/ 150 h 370"/>
                <a:gd name="T80" fmla="*/ 51 w 373"/>
                <a:gd name="T81" fmla="*/ 158 h 370"/>
                <a:gd name="T82" fmla="*/ 31 w 373"/>
                <a:gd name="T83" fmla="*/ 160 h 370"/>
                <a:gd name="T84" fmla="*/ 20 w 373"/>
                <a:gd name="T85" fmla="*/ 164 h 370"/>
                <a:gd name="T86" fmla="*/ 8 w 373"/>
                <a:gd name="T87" fmla="*/ 174 h 370"/>
                <a:gd name="T88" fmla="*/ 0 w 373"/>
                <a:gd name="T89" fmla="*/ 200 h 370"/>
                <a:gd name="T90" fmla="*/ 179 w 373"/>
                <a:gd name="T91" fmla="*/ 331 h 370"/>
                <a:gd name="T92" fmla="*/ 201 w 373"/>
                <a:gd name="T93" fmla="*/ 352 h 370"/>
                <a:gd name="T94" fmla="*/ 229 w 373"/>
                <a:gd name="T95" fmla="*/ 368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9" name="Freeform 238">
              <a:extLst>
                <a:ext uri="{FF2B5EF4-FFF2-40B4-BE49-F238E27FC236}">
                  <a16:creationId xmlns="" xmlns:a16="http://schemas.microsoft.com/office/drawing/2014/main" id="{A58CFD5E-934A-034D-8649-7FCAC4AFB5C6}"/>
                </a:ext>
              </a:extLst>
            </p:cNvPr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4244975" y="2614613"/>
              <a:ext cx="384175" cy="436562"/>
            </a:xfrm>
            <a:custGeom>
              <a:avLst/>
              <a:gdLst>
                <a:gd name="T0" fmla="*/ 36 w 877"/>
                <a:gd name="T1" fmla="*/ 141 h 826"/>
                <a:gd name="T2" fmla="*/ 46 w 877"/>
                <a:gd name="T3" fmla="*/ 109 h 826"/>
                <a:gd name="T4" fmla="*/ 46 w 877"/>
                <a:gd name="T5" fmla="*/ 70 h 826"/>
                <a:gd name="T6" fmla="*/ 61 w 877"/>
                <a:gd name="T7" fmla="*/ 64 h 826"/>
                <a:gd name="T8" fmla="*/ 89 w 877"/>
                <a:gd name="T9" fmla="*/ 55 h 826"/>
                <a:gd name="T10" fmla="*/ 99 w 877"/>
                <a:gd name="T11" fmla="*/ 20 h 826"/>
                <a:gd name="T12" fmla="*/ 168 w 877"/>
                <a:gd name="T13" fmla="*/ 6 h 826"/>
                <a:gd name="T14" fmla="*/ 242 w 877"/>
                <a:gd name="T15" fmla="*/ 24 h 826"/>
                <a:gd name="T16" fmla="*/ 273 w 877"/>
                <a:gd name="T17" fmla="*/ 43 h 826"/>
                <a:gd name="T18" fmla="*/ 285 w 877"/>
                <a:gd name="T19" fmla="*/ 78 h 826"/>
                <a:gd name="T20" fmla="*/ 295 w 877"/>
                <a:gd name="T21" fmla="*/ 101 h 826"/>
                <a:gd name="T22" fmla="*/ 325 w 877"/>
                <a:gd name="T23" fmla="*/ 110 h 826"/>
                <a:gd name="T24" fmla="*/ 363 w 877"/>
                <a:gd name="T25" fmla="*/ 109 h 826"/>
                <a:gd name="T26" fmla="*/ 421 w 877"/>
                <a:gd name="T27" fmla="*/ 133 h 826"/>
                <a:gd name="T28" fmla="*/ 478 w 877"/>
                <a:gd name="T29" fmla="*/ 162 h 826"/>
                <a:gd name="T30" fmla="*/ 513 w 877"/>
                <a:gd name="T31" fmla="*/ 166 h 826"/>
                <a:gd name="T32" fmla="*/ 538 w 877"/>
                <a:gd name="T33" fmla="*/ 158 h 826"/>
                <a:gd name="T34" fmla="*/ 549 w 877"/>
                <a:gd name="T35" fmla="*/ 126 h 826"/>
                <a:gd name="T36" fmla="*/ 544 w 877"/>
                <a:gd name="T37" fmla="*/ 103 h 826"/>
                <a:gd name="T38" fmla="*/ 531 w 877"/>
                <a:gd name="T39" fmla="*/ 81 h 826"/>
                <a:gd name="T40" fmla="*/ 539 w 877"/>
                <a:gd name="T41" fmla="*/ 49 h 826"/>
                <a:gd name="T42" fmla="*/ 574 w 877"/>
                <a:gd name="T43" fmla="*/ 34 h 826"/>
                <a:gd name="T44" fmla="*/ 617 w 877"/>
                <a:gd name="T45" fmla="*/ 4 h 826"/>
                <a:gd name="T46" fmla="*/ 650 w 877"/>
                <a:gd name="T47" fmla="*/ 0 h 826"/>
                <a:gd name="T48" fmla="*/ 681 w 877"/>
                <a:gd name="T49" fmla="*/ 6 h 826"/>
                <a:gd name="T50" fmla="*/ 695 w 877"/>
                <a:gd name="T51" fmla="*/ 24 h 826"/>
                <a:gd name="T52" fmla="*/ 706 w 877"/>
                <a:gd name="T53" fmla="*/ 50 h 826"/>
                <a:gd name="T54" fmla="*/ 728 w 877"/>
                <a:gd name="T55" fmla="*/ 63 h 826"/>
                <a:gd name="T56" fmla="*/ 798 w 877"/>
                <a:gd name="T57" fmla="*/ 71 h 826"/>
                <a:gd name="T58" fmla="*/ 830 w 877"/>
                <a:gd name="T59" fmla="*/ 97 h 826"/>
                <a:gd name="T60" fmla="*/ 834 w 877"/>
                <a:gd name="T61" fmla="*/ 117 h 826"/>
                <a:gd name="T62" fmla="*/ 843 w 877"/>
                <a:gd name="T63" fmla="*/ 140 h 826"/>
                <a:gd name="T64" fmla="*/ 836 w 877"/>
                <a:gd name="T65" fmla="*/ 159 h 826"/>
                <a:gd name="T66" fmla="*/ 824 w 877"/>
                <a:gd name="T67" fmla="*/ 170 h 826"/>
                <a:gd name="T68" fmla="*/ 829 w 877"/>
                <a:gd name="T69" fmla="*/ 207 h 826"/>
                <a:gd name="T70" fmla="*/ 858 w 877"/>
                <a:gd name="T71" fmla="*/ 245 h 826"/>
                <a:gd name="T72" fmla="*/ 876 w 877"/>
                <a:gd name="T73" fmla="*/ 687 h 826"/>
                <a:gd name="T74" fmla="*/ 877 w 877"/>
                <a:gd name="T75" fmla="*/ 741 h 826"/>
                <a:gd name="T76" fmla="*/ 870 w 877"/>
                <a:gd name="T77" fmla="*/ 775 h 826"/>
                <a:gd name="T78" fmla="*/ 848 w 877"/>
                <a:gd name="T79" fmla="*/ 783 h 826"/>
                <a:gd name="T80" fmla="*/ 830 w 877"/>
                <a:gd name="T81" fmla="*/ 804 h 826"/>
                <a:gd name="T82" fmla="*/ 366 w 877"/>
                <a:gd name="T83" fmla="*/ 593 h 826"/>
                <a:gd name="T84" fmla="*/ 331 w 877"/>
                <a:gd name="T85" fmla="*/ 607 h 826"/>
                <a:gd name="T86" fmla="*/ 292 w 877"/>
                <a:gd name="T87" fmla="*/ 626 h 826"/>
                <a:gd name="T88" fmla="*/ 263 w 877"/>
                <a:gd name="T89" fmla="*/ 627 h 826"/>
                <a:gd name="T90" fmla="*/ 230 w 877"/>
                <a:gd name="T91" fmla="*/ 609 h 826"/>
                <a:gd name="T92" fmla="*/ 193 w 877"/>
                <a:gd name="T93" fmla="*/ 586 h 826"/>
                <a:gd name="T94" fmla="*/ 152 w 877"/>
                <a:gd name="T95" fmla="*/ 578 h 826"/>
                <a:gd name="T96" fmla="*/ 138 w 877"/>
                <a:gd name="T97" fmla="*/ 577 h 826"/>
                <a:gd name="T98" fmla="*/ 130 w 877"/>
                <a:gd name="T99" fmla="*/ 553 h 826"/>
                <a:gd name="T100" fmla="*/ 109 w 877"/>
                <a:gd name="T101" fmla="*/ 535 h 826"/>
                <a:gd name="T102" fmla="*/ 63 w 877"/>
                <a:gd name="T103" fmla="*/ 517 h 826"/>
                <a:gd name="T104" fmla="*/ 28 w 877"/>
                <a:gd name="T105" fmla="*/ 499 h 826"/>
                <a:gd name="T106" fmla="*/ 16 w 877"/>
                <a:gd name="T107" fmla="*/ 482 h 826"/>
                <a:gd name="T108" fmla="*/ 14 w 877"/>
                <a:gd name="T109" fmla="*/ 439 h 826"/>
                <a:gd name="T110" fmla="*/ 19 w 877"/>
                <a:gd name="T111" fmla="*/ 352 h 826"/>
                <a:gd name="T112" fmla="*/ 17 w 877"/>
                <a:gd name="T113" fmla="*/ 258 h 826"/>
                <a:gd name="T114" fmla="*/ 4 w 877"/>
                <a:gd name="T115" fmla="*/ 202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0" name="Freeform 239">
              <a:extLst>
                <a:ext uri="{FF2B5EF4-FFF2-40B4-BE49-F238E27FC236}">
                  <a16:creationId xmlns="" xmlns:a16="http://schemas.microsoft.com/office/drawing/2014/main" id="{30BCC5BF-9099-8D40-946A-7DEC02B67C21}"/>
                </a:ext>
              </a:extLst>
            </p:cNvPr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4197350" y="2479675"/>
              <a:ext cx="93663" cy="236538"/>
            </a:xfrm>
            <a:custGeom>
              <a:avLst/>
              <a:gdLst>
                <a:gd name="T0" fmla="*/ 103 w 206"/>
                <a:gd name="T1" fmla="*/ 441 h 455"/>
                <a:gd name="T2" fmla="*/ 125 w 206"/>
                <a:gd name="T3" fmla="*/ 420 h 455"/>
                <a:gd name="T4" fmla="*/ 140 w 206"/>
                <a:gd name="T5" fmla="*/ 404 h 455"/>
                <a:gd name="T6" fmla="*/ 147 w 206"/>
                <a:gd name="T7" fmla="*/ 390 h 455"/>
                <a:gd name="T8" fmla="*/ 152 w 206"/>
                <a:gd name="T9" fmla="*/ 373 h 455"/>
                <a:gd name="T10" fmla="*/ 154 w 206"/>
                <a:gd name="T11" fmla="*/ 352 h 455"/>
                <a:gd name="T12" fmla="*/ 153 w 206"/>
                <a:gd name="T13" fmla="*/ 335 h 455"/>
                <a:gd name="T14" fmla="*/ 156 w 206"/>
                <a:gd name="T15" fmla="*/ 331 h 455"/>
                <a:gd name="T16" fmla="*/ 168 w 206"/>
                <a:gd name="T17" fmla="*/ 329 h 455"/>
                <a:gd name="T18" fmla="*/ 185 w 206"/>
                <a:gd name="T19" fmla="*/ 325 h 455"/>
                <a:gd name="T20" fmla="*/ 196 w 206"/>
                <a:gd name="T21" fmla="*/ 318 h 455"/>
                <a:gd name="T22" fmla="*/ 203 w 206"/>
                <a:gd name="T23" fmla="*/ 304 h 455"/>
                <a:gd name="T24" fmla="*/ 206 w 206"/>
                <a:gd name="T25" fmla="*/ 280 h 455"/>
                <a:gd name="T26" fmla="*/ 202 w 206"/>
                <a:gd name="T27" fmla="*/ 265 h 455"/>
                <a:gd name="T28" fmla="*/ 193 w 206"/>
                <a:gd name="T29" fmla="*/ 264 h 455"/>
                <a:gd name="T30" fmla="*/ 177 w 206"/>
                <a:gd name="T31" fmla="*/ 256 h 455"/>
                <a:gd name="T32" fmla="*/ 155 w 206"/>
                <a:gd name="T33" fmla="*/ 242 h 455"/>
                <a:gd name="T34" fmla="*/ 140 w 206"/>
                <a:gd name="T35" fmla="*/ 231 h 455"/>
                <a:gd name="T36" fmla="*/ 130 w 206"/>
                <a:gd name="T37" fmla="*/ 228 h 455"/>
                <a:gd name="T38" fmla="*/ 119 w 206"/>
                <a:gd name="T39" fmla="*/ 222 h 455"/>
                <a:gd name="T40" fmla="*/ 101 w 206"/>
                <a:gd name="T41" fmla="*/ 212 h 455"/>
                <a:gd name="T42" fmla="*/ 95 w 206"/>
                <a:gd name="T43" fmla="*/ 206 h 455"/>
                <a:gd name="T44" fmla="*/ 95 w 206"/>
                <a:gd name="T45" fmla="*/ 199 h 455"/>
                <a:gd name="T46" fmla="*/ 104 w 206"/>
                <a:gd name="T47" fmla="*/ 181 h 455"/>
                <a:gd name="T48" fmla="*/ 119 w 206"/>
                <a:gd name="T49" fmla="*/ 158 h 455"/>
                <a:gd name="T50" fmla="*/ 134 w 206"/>
                <a:gd name="T51" fmla="*/ 140 h 455"/>
                <a:gd name="T52" fmla="*/ 136 w 206"/>
                <a:gd name="T53" fmla="*/ 129 h 455"/>
                <a:gd name="T54" fmla="*/ 126 w 206"/>
                <a:gd name="T55" fmla="*/ 116 h 455"/>
                <a:gd name="T56" fmla="*/ 115 w 206"/>
                <a:gd name="T57" fmla="*/ 105 h 455"/>
                <a:gd name="T58" fmla="*/ 108 w 206"/>
                <a:gd name="T59" fmla="*/ 93 h 455"/>
                <a:gd name="T60" fmla="*/ 107 w 206"/>
                <a:gd name="T61" fmla="*/ 84 h 455"/>
                <a:gd name="T62" fmla="*/ 111 w 206"/>
                <a:gd name="T63" fmla="*/ 78 h 455"/>
                <a:gd name="T64" fmla="*/ 116 w 206"/>
                <a:gd name="T65" fmla="*/ 72 h 455"/>
                <a:gd name="T66" fmla="*/ 123 w 206"/>
                <a:gd name="T67" fmla="*/ 69 h 455"/>
                <a:gd name="T68" fmla="*/ 126 w 206"/>
                <a:gd name="T69" fmla="*/ 37 h 455"/>
                <a:gd name="T70" fmla="*/ 110 w 206"/>
                <a:gd name="T71" fmla="*/ 32 h 455"/>
                <a:gd name="T72" fmla="*/ 87 w 206"/>
                <a:gd name="T73" fmla="*/ 21 h 455"/>
                <a:gd name="T74" fmla="*/ 53 w 206"/>
                <a:gd name="T75" fmla="*/ 0 h 455"/>
                <a:gd name="T76" fmla="*/ 47 w 206"/>
                <a:gd name="T77" fmla="*/ 11 h 455"/>
                <a:gd name="T78" fmla="*/ 34 w 206"/>
                <a:gd name="T79" fmla="*/ 44 h 455"/>
                <a:gd name="T80" fmla="*/ 28 w 206"/>
                <a:gd name="T81" fmla="*/ 70 h 455"/>
                <a:gd name="T82" fmla="*/ 22 w 206"/>
                <a:gd name="T83" fmla="*/ 99 h 455"/>
                <a:gd name="T84" fmla="*/ 20 w 206"/>
                <a:gd name="T85" fmla="*/ 133 h 455"/>
                <a:gd name="T86" fmla="*/ 20 w 206"/>
                <a:gd name="T87" fmla="*/ 172 h 455"/>
                <a:gd name="T88" fmla="*/ 12 w 206"/>
                <a:gd name="T89" fmla="*/ 188 h 455"/>
                <a:gd name="T90" fmla="*/ 8 w 206"/>
                <a:gd name="T91" fmla="*/ 206 h 455"/>
                <a:gd name="T92" fmla="*/ 0 w 206"/>
                <a:gd name="T93" fmla="*/ 235 h 455"/>
                <a:gd name="T94" fmla="*/ 22 w 206"/>
                <a:gd name="T95" fmla="*/ 259 h 455"/>
                <a:gd name="T96" fmla="*/ 41 w 206"/>
                <a:gd name="T97" fmla="*/ 281 h 455"/>
                <a:gd name="T98" fmla="*/ 55 w 206"/>
                <a:gd name="T99" fmla="*/ 305 h 455"/>
                <a:gd name="T100" fmla="*/ 66 w 206"/>
                <a:gd name="T101" fmla="*/ 329 h 455"/>
                <a:gd name="T102" fmla="*/ 75 w 206"/>
                <a:gd name="T103" fmla="*/ 355 h 455"/>
                <a:gd name="T104" fmla="*/ 82 w 206"/>
                <a:gd name="T105" fmla="*/ 384 h 455"/>
                <a:gd name="T106" fmla="*/ 93 w 206"/>
                <a:gd name="T107" fmla="*/ 455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1" name="Freeform 240">
              <a:extLst>
                <a:ext uri="{FF2B5EF4-FFF2-40B4-BE49-F238E27FC236}">
                  <a16:creationId xmlns="" xmlns:a16="http://schemas.microsoft.com/office/drawing/2014/main" id="{196CFD21-C125-CB47-AAD6-2A0539EE769C}"/>
                </a:ext>
              </a:extLst>
            </p:cNvPr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579813" y="2790825"/>
              <a:ext cx="231775" cy="215900"/>
            </a:xfrm>
            <a:custGeom>
              <a:avLst/>
              <a:gdLst>
                <a:gd name="T0" fmla="*/ 326 w 518"/>
                <a:gd name="T1" fmla="*/ 110 h 406"/>
                <a:gd name="T2" fmla="*/ 326 w 518"/>
                <a:gd name="T3" fmla="*/ 259 h 406"/>
                <a:gd name="T4" fmla="*/ 315 w 518"/>
                <a:gd name="T5" fmla="*/ 264 h 406"/>
                <a:gd name="T6" fmla="*/ 291 w 518"/>
                <a:gd name="T7" fmla="*/ 271 h 406"/>
                <a:gd name="T8" fmla="*/ 246 w 518"/>
                <a:gd name="T9" fmla="*/ 283 h 406"/>
                <a:gd name="T10" fmla="*/ 253 w 518"/>
                <a:gd name="T11" fmla="*/ 302 h 406"/>
                <a:gd name="T12" fmla="*/ 265 w 518"/>
                <a:gd name="T13" fmla="*/ 326 h 406"/>
                <a:gd name="T14" fmla="*/ 269 w 518"/>
                <a:gd name="T15" fmla="*/ 353 h 406"/>
                <a:gd name="T16" fmla="*/ 272 w 518"/>
                <a:gd name="T17" fmla="*/ 382 h 406"/>
                <a:gd name="T18" fmla="*/ 52 w 518"/>
                <a:gd name="T19" fmla="*/ 394 h 406"/>
                <a:gd name="T20" fmla="*/ 22 w 518"/>
                <a:gd name="T21" fmla="*/ 406 h 406"/>
                <a:gd name="T22" fmla="*/ 5 w 518"/>
                <a:gd name="T23" fmla="*/ 403 h 406"/>
                <a:gd name="T24" fmla="*/ 1 w 518"/>
                <a:gd name="T25" fmla="*/ 398 h 406"/>
                <a:gd name="T26" fmla="*/ 1 w 518"/>
                <a:gd name="T27" fmla="*/ 385 h 406"/>
                <a:gd name="T28" fmla="*/ 4 w 518"/>
                <a:gd name="T29" fmla="*/ 371 h 406"/>
                <a:gd name="T30" fmla="*/ 11 w 518"/>
                <a:gd name="T31" fmla="*/ 354 h 406"/>
                <a:gd name="T32" fmla="*/ 20 w 518"/>
                <a:gd name="T33" fmla="*/ 341 h 406"/>
                <a:gd name="T34" fmla="*/ 30 w 518"/>
                <a:gd name="T35" fmla="*/ 334 h 406"/>
                <a:gd name="T36" fmla="*/ 38 w 518"/>
                <a:gd name="T37" fmla="*/ 326 h 406"/>
                <a:gd name="T38" fmla="*/ 44 w 518"/>
                <a:gd name="T39" fmla="*/ 317 h 406"/>
                <a:gd name="T40" fmla="*/ 49 w 518"/>
                <a:gd name="T41" fmla="*/ 292 h 406"/>
                <a:gd name="T42" fmla="*/ 56 w 518"/>
                <a:gd name="T43" fmla="*/ 265 h 406"/>
                <a:gd name="T44" fmla="*/ 62 w 518"/>
                <a:gd name="T45" fmla="*/ 257 h 406"/>
                <a:gd name="T46" fmla="*/ 74 w 518"/>
                <a:gd name="T47" fmla="*/ 246 h 406"/>
                <a:gd name="T48" fmla="*/ 92 w 518"/>
                <a:gd name="T49" fmla="*/ 238 h 406"/>
                <a:gd name="T50" fmla="*/ 107 w 518"/>
                <a:gd name="T51" fmla="*/ 231 h 406"/>
                <a:gd name="T52" fmla="*/ 122 w 518"/>
                <a:gd name="T53" fmla="*/ 218 h 406"/>
                <a:gd name="T54" fmla="*/ 136 w 518"/>
                <a:gd name="T55" fmla="*/ 195 h 406"/>
                <a:gd name="T56" fmla="*/ 150 w 518"/>
                <a:gd name="T57" fmla="*/ 156 h 406"/>
                <a:gd name="T58" fmla="*/ 162 w 518"/>
                <a:gd name="T59" fmla="*/ 117 h 406"/>
                <a:gd name="T60" fmla="*/ 172 w 518"/>
                <a:gd name="T61" fmla="*/ 94 h 406"/>
                <a:gd name="T62" fmla="*/ 186 w 518"/>
                <a:gd name="T63" fmla="*/ 73 h 406"/>
                <a:gd name="T64" fmla="*/ 201 w 518"/>
                <a:gd name="T65" fmla="*/ 62 h 406"/>
                <a:gd name="T66" fmla="*/ 213 w 518"/>
                <a:gd name="T67" fmla="*/ 57 h 406"/>
                <a:gd name="T68" fmla="*/ 219 w 518"/>
                <a:gd name="T69" fmla="*/ 44 h 406"/>
                <a:gd name="T70" fmla="*/ 223 w 518"/>
                <a:gd name="T71" fmla="*/ 28 h 406"/>
                <a:gd name="T72" fmla="*/ 228 w 518"/>
                <a:gd name="T73" fmla="*/ 16 h 406"/>
                <a:gd name="T74" fmla="*/ 239 w 518"/>
                <a:gd name="T75" fmla="*/ 8 h 406"/>
                <a:gd name="T76" fmla="*/ 511 w 518"/>
                <a:gd name="T77" fmla="*/ 0 h 406"/>
                <a:gd name="T78" fmla="*/ 515 w 518"/>
                <a:gd name="T79" fmla="*/ 46 h 406"/>
                <a:gd name="T80" fmla="*/ 518 w 518"/>
                <a:gd name="T81" fmla="*/ 110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2" name="Freeform 241">
              <a:extLst>
                <a:ext uri="{FF2B5EF4-FFF2-40B4-BE49-F238E27FC236}">
                  <a16:creationId xmlns="" xmlns:a16="http://schemas.microsoft.com/office/drawing/2014/main" id="{43E3CB65-8241-2044-A44E-CE129ED74123}"/>
                </a:ext>
              </a:extLst>
            </p:cNvPr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548063" y="1598613"/>
              <a:ext cx="190500" cy="93662"/>
            </a:xfrm>
            <a:custGeom>
              <a:avLst/>
              <a:gdLst>
                <a:gd name="T0" fmla="*/ 34 w 446"/>
                <a:gd name="T1" fmla="*/ 61 h 178"/>
                <a:gd name="T2" fmla="*/ 41 w 446"/>
                <a:gd name="T3" fmla="*/ 42 h 178"/>
                <a:gd name="T4" fmla="*/ 68 w 446"/>
                <a:gd name="T5" fmla="*/ 37 h 178"/>
                <a:gd name="T6" fmla="*/ 80 w 446"/>
                <a:gd name="T7" fmla="*/ 18 h 178"/>
                <a:gd name="T8" fmla="*/ 72 w 446"/>
                <a:gd name="T9" fmla="*/ 14 h 178"/>
                <a:gd name="T10" fmla="*/ 60 w 446"/>
                <a:gd name="T11" fmla="*/ 0 h 178"/>
                <a:gd name="T12" fmla="*/ 85 w 446"/>
                <a:gd name="T13" fmla="*/ 10 h 178"/>
                <a:gd name="T14" fmla="*/ 108 w 446"/>
                <a:gd name="T15" fmla="*/ 39 h 178"/>
                <a:gd name="T16" fmla="*/ 125 w 446"/>
                <a:gd name="T17" fmla="*/ 62 h 178"/>
                <a:gd name="T18" fmla="*/ 139 w 446"/>
                <a:gd name="T19" fmla="*/ 67 h 178"/>
                <a:gd name="T20" fmla="*/ 157 w 446"/>
                <a:gd name="T21" fmla="*/ 63 h 178"/>
                <a:gd name="T22" fmla="*/ 181 w 446"/>
                <a:gd name="T23" fmla="*/ 45 h 178"/>
                <a:gd name="T24" fmla="*/ 205 w 446"/>
                <a:gd name="T25" fmla="*/ 23 h 178"/>
                <a:gd name="T26" fmla="*/ 220 w 446"/>
                <a:gd name="T27" fmla="*/ 31 h 178"/>
                <a:gd name="T28" fmla="*/ 359 w 446"/>
                <a:gd name="T29" fmla="*/ 11 h 178"/>
                <a:gd name="T30" fmla="*/ 376 w 446"/>
                <a:gd name="T31" fmla="*/ 23 h 178"/>
                <a:gd name="T32" fmla="*/ 396 w 446"/>
                <a:gd name="T33" fmla="*/ 22 h 178"/>
                <a:gd name="T34" fmla="*/ 413 w 446"/>
                <a:gd name="T35" fmla="*/ 37 h 178"/>
                <a:gd name="T36" fmla="*/ 415 w 446"/>
                <a:gd name="T37" fmla="*/ 43 h 178"/>
                <a:gd name="T38" fmla="*/ 429 w 446"/>
                <a:gd name="T39" fmla="*/ 54 h 178"/>
                <a:gd name="T40" fmla="*/ 443 w 446"/>
                <a:gd name="T41" fmla="*/ 68 h 178"/>
                <a:gd name="T42" fmla="*/ 446 w 446"/>
                <a:gd name="T43" fmla="*/ 80 h 178"/>
                <a:gd name="T44" fmla="*/ 438 w 446"/>
                <a:gd name="T45" fmla="*/ 96 h 178"/>
                <a:gd name="T46" fmla="*/ 413 w 446"/>
                <a:gd name="T47" fmla="*/ 111 h 178"/>
                <a:gd name="T48" fmla="*/ 397 w 446"/>
                <a:gd name="T49" fmla="*/ 120 h 178"/>
                <a:gd name="T50" fmla="*/ 366 w 446"/>
                <a:gd name="T51" fmla="*/ 123 h 178"/>
                <a:gd name="T52" fmla="*/ 300 w 446"/>
                <a:gd name="T53" fmla="*/ 146 h 178"/>
                <a:gd name="T54" fmla="*/ 234 w 446"/>
                <a:gd name="T55" fmla="*/ 171 h 178"/>
                <a:gd name="T56" fmla="*/ 199 w 446"/>
                <a:gd name="T57" fmla="*/ 178 h 178"/>
                <a:gd name="T58" fmla="*/ 177 w 446"/>
                <a:gd name="T59" fmla="*/ 174 h 178"/>
                <a:gd name="T60" fmla="*/ 172 w 446"/>
                <a:gd name="T61" fmla="*/ 164 h 178"/>
                <a:gd name="T62" fmla="*/ 170 w 446"/>
                <a:gd name="T63" fmla="*/ 161 h 178"/>
                <a:gd name="T64" fmla="*/ 156 w 446"/>
                <a:gd name="T65" fmla="*/ 161 h 178"/>
                <a:gd name="T66" fmla="*/ 139 w 446"/>
                <a:gd name="T67" fmla="*/ 160 h 178"/>
                <a:gd name="T68" fmla="*/ 100 w 446"/>
                <a:gd name="T69" fmla="*/ 147 h 178"/>
                <a:gd name="T70" fmla="*/ 85 w 446"/>
                <a:gd name="T71" fmla="*/ 137 h 178"/>
                <a:gd name="T72" fmla="*/ 81 w 446"/>
                <a:gd name="T73" fmla="*/ 125 h 178"/>
                <a:gd name="T74" fmla="*/ 87 w 446"/>
                <a:gd name="T75" fmla="*/ 111 h 178"/>
                <a:gd name="T76" fmla="*/ 27 w 446"/>
                <a:gd name="T77" fmla="*/ 103 h 178"/>
                <a:gd name="T78" fmla="*/ 9 w 446"/>
                <a:gd name="T79" fmla="*/ 105 h 178"/>
                <a:gd name="T80" fmla="*/ 0 w 446"/>
                <a:gd name="T81" fmla="*/ 80 h 178"/>
                <a:gd name="T82" fmla="*/ 60 w 446"/>
                <a:gd name="T83" fmla="*/ 86 h 178"/>
                <a:gd name="T84" fmla="*/ 87 w 446"/>
                <a:gd name="T85" fmla="*/ 80 h 178"/>
                <a:gd name="T86" fmla="*/ 23 w 446"/>
                <a:gd name="T87" fmla="*/ 68 h 178"/>
                <a:gd name="T88" fmla="*/ 16 w 446"/>
                <a:gd name="T89" fmla="*/ 55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3" name="Freeform 242">
              <a:extLst>
                <a:ext uri="{FF2B5EF4-FFF2-40B4-BE49-F238E27FC236}">
                  <a16:creationId xmlns="" xmlns:a16="http://schemas.microsoft.com/office/drawing/2014/main" id="{DD87D63C-7324-C742-AB22-EF11E95E533F}"/>
                </a:ext>
              </a:extLst>
            </p:cNvPr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340225" y="1862138"/>
              <a:ext cx="14288" cy="57150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4" name="Freeform 243">
              <a:extLst>
                <a:ext uri="{FF2B5EF4-FFF2-40B4-BE49-F238E27FC236}">
                  <a16:creationId xmlns="" xmlns:a16="http://schemas.microsoft.com/office/drawing/2014/main" id="{D23B57B7-19AB-1E4A-BAFF-228FA1461330}"/>
                </a:ext>
              </a:extLst>
            </p:cNvPr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227513" y="1525588"/>
              <a:ext cx="234950" cy="395287"/>
            </a:xfrm>
            <a:custGeom>
              <a:avLst/>
              <a:gdLst>
                <a:gd name="T0" fmla="*/ 419 w 531"/>
                <a:gd name="T1" fmla="*/ 203 h 757"/>
                <a:gd name="T2" fmla="*/ 406 w 531"/>
                <a:gd name="T3" fmla="*/ 221 h 757"/>
                <a:gd name="T4" fmla="*/ 404 w 531"/>
                <a:gd name="T5" fmla="*/ 237 h 757"/>
                <a:gd name="T6" fmla="*/ 382 w 531"/>
                <a:gd name="T7" fmla="*/ 275 h 757"/>
                <a:gd name="T8" fmla="*/ 325 w 531"/>
                <a:gd name="T9" fmla="*/ 306 h 757"/>
                <a:gd name="T10" fmla="*/ 252 w 531"/>
                <a:gd name="T11" fmla="*/ 354 h 757"/>
                <a:gd name="T12" fmla="*/ 237 w 531"/>
                <a:gd name="T13" fmla="*/ 369 h 757"/>
                <a:gd name="T14" fmla="*/ 245 w 531"/>
                <a:gd name="T15" fmla="*/ 381 h 757"/>
                <a:gd name="T16" fmla="*/ 240 w 531"/>
                <a:gd name="T17" fmla="*/ 424 h 757"/>
                <a:gd name="T18" fmla="*/ 239 w 531"/>
                <a:gd name="T19" fmla="*/ 449 h 757"/>
                <a:gd name="T20" fmla="*/ 262 w 531"/>
                <a:gd name="T21" fmla="*/ 468 h 757"/>
                <a:gd name="T22" fmla="*/ 320 w 531"/>
                <a:gd name="T23" fmla="*/ 485 h 757"/>
                <a:gd name="T24" fmla="*/ 332 w 531"/>
                <a:gd name="T25" fmla="*/ 505 h 757"/>
                <a:gd name="T26" fmla="*/ 310 w 531"/>
                <a:gd name="T27" fmla="*/ 531 h 757"/>
                <a:gd name="T28" fmla="*/ 272 w 531"/>
                <a:gd name="T29" fmla="*/ 547 h 757"/>
                <a:gd name="T30" fmla="*/ 265 w 531"/>
                <a:gd name="T31" fmla="*/ 560 h 757"/>
                <a:gd name="T32" fmla="*/ 252 w 531"/>
                <a:gd name="T33" fmla="*/ 631 h 757"/>
                <a:gd name="T34" fmla="*/ 239 w 531"/>
                <a:gd name="T35" fmla="*/ 721 h 757"/>
                <a:gd name="T36" fmla="*/ 173 w 531"/>
                <a:gd name="T37" fmla="*/ 727 h 757"/>
                <a:gd name="T38" fmla="*/ 152 w 531"/>
                <a:gd name="T39" fmla="*/ 738 h 757"/>
                <a:gd name="T40" fmla="*/ 153 w 531"/>
                <a:gd name="T41" fmla="*/ 757 h 757"/>
                <a:gd name="T42" fmla="*/ 106 w 531"/>
                <a:gd name="T43" fmla="*/ 757 h 757"/>
                <a:gd name="T44" fmla="*/ 95 w 531"/>
                <a:gd name="T45" fmla="*/ 752 h 757"/>
                <a:gd name="T46" fmla="*/ 71 w 531"/>
                <a:gd name="T47" fmla="*/ 718 h 757"/>
                <a:gd name="T48" fmla="*/ 41 w 531"/>
                <a:gd name="T49" fmla="*/ 640 h 757"/>
                <a:gd name="T50" fmla="*/ 34 w 531"/>
                <a:gd name="T51" fmla="*/ 597 h 757"/>
                <a:gd name="T52" fmla="*/ 14 w 531"/>
                <a:gd name="T53" fmla="*/ 586 h 757"/>
                <a:gd name="T54" fmla="*/ 19 w 531"/>
                <a:gd name="T55" fmla="*/ 561 h 757"/>
                <a:gd name="T56" fmla="*/ 36 w 531"/>
                <a:gd name="T57" fmla="*/ 538 h 757"/>
                <a:gd name="T58" fmla="*/ 53 w 531"/>
                <a:gd name="T59" fmla="*/ 504 h 757"/>
                <a:gd name="T60" fmla="*/ 61 w 531"/>
                <a:gd name="T61" fmla="*/ 471 h 757"/>
                <a:gd name="T62" fmla="*/ 64 w 531"/>
                <a:gd name="T63" fmla="*/ 441 h 757"/>
                <a:gd name="T64" fmla="*/ 58 w 531"/>
                <a:gd name="T65" fmla="*/ 408 h 757"/>
                <a:gd name="T66" fmla="*/ 43 w 531"/>
                <a:gd name="T67" fmla="*/ 377 h 757"/>
                <a:gd name="T68" fmla="*/ 74 w 531"/>
                <a:gd name="T69" fmla="*/ 276 h 757"/>
                <a:gd name="T70" fmla="*/ 103 w 531"/>
                <a:gd name="T71" fmla="*/ 275 h 757"/>
                <a:gd name="T72" fmla="*/ 113 w 531"/>
                <a:gd name="T73" fmla="*/ 234 h 757"/>
                <a:gd name="T74" fmla="*/ 137 w 531"/>
                <a:gd name="T75" fmla="*/ 192 h 757"/>
                <a:gd name="T76" fmla="*/ 180 w 531"/>
                <a:gd name="T77" fmla="*/ 145 h 757"/>
                <a:gd name="T78" fmla="*/ 198 w 531"/>
                <a:gd name="T79" fmla="*/ 111 h 757"/>
                <a:gd name="T80" fmla="*/ 228 w 531"/>
                <a:gd name="T81" fmla="*/ 60 h 757"/>
                <a:gd name="T82" fmla="*/ 249 w 531"/>
                <a:gd name="T83" fmla="*/ 43 h 757"/>
                <a:gd name="T84" fmla="*/ 309 w 531"/>
                <a:gd name="T85" fmla="*/ 29 h 757"/>
                <a:gd name="T86" fmla="*/ 368 w 531"/>
                <a:gd name="T87" fmla="*/ 13 h 757"/>
                <a:gd name="T88" fmla="*/ 401 w 531"/>
                <a:gd name="T89" fmla="*/ 5 h 757"/>
                <a:gd name="T90" fmla="*/ 431 w 531"/>
                <a:gd name="T91" fmla="*/ 32 h 757"/>
                <a:gd name="T92" fmla="*/ 457 w 531"/>
                <a:gd name="T93" fmla="*/ 42 h 757"/>
                <a:gd name="T94" fmla="*/ 513 w 531"/>
                <a:gd name="T95" fmla="*/ 111 h 757"/>
                <a:gd name="T96" fmla="*/ 528 w 531"/>
                <a:gd name="T97" fmla="*/ 150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5" name="Freeform 244">
              <a:extLst>
                <a:ext uri="{FF2B5EF4-FFF2-40B4-BE49-F238E27FC236}">
                  <a16:creationId xmlns="" xmlns:a16="http://schemas.microsoft.com/office/drawing/2014/main" id="{9B183BFA-00C0-1D40-81E7-CBB83918CACC}"/>
                </a:ext>
              </a:extLst>
            </p:cNvPr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365625" y="1839913"/>
              <a:ext cx="26988" cy="57150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6" name="Freeform 245">
              <a:extLst>
                <a:ext uri="{FF2B5EF4-FFF2-40B4-BE49-F238E27FC236}">
                  <a16:creationId xmlns="" xmlns:a16="http://schemas.microsoft.com/office/drawing/2014/main" id="{95FF79DE-DDCA-4449-8CC3-B714CB7823F3}"/>
                </a:ext>
              </a:extLst>
            </p:cNvPr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810000" y="2001838"/>
              <a:ext cx="28575" cy="57150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7" name="Freeform 246">
              <a:extLst>
                <a:ext uri="{FF2B5EF4-FFF2-40B4-BE49-F238E27FC236}">
                  <a16:creationId xmlns="" xmlns:a16="http://schemas.microsoft.com/office/drawing/2014/main" id="{732CF9D2-2788-CE4C-88C2-EF22F96A5274}"/>
                </a:ext>
              </a:extLst>
            </p:cNvPr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762500" y="2530475"/>
              <a:ext cx="50800" cy="57150"/>
            </a:xfrm>
            <a:custGeom>
              <a:avLst/>
              <a:gdLst>
                <a:gd name="T0" fmla="*/ 0 w 113"/>
                <a:gd name="T1" fmla="*/ 44 h 74"/>
                <a:gd name="T2" fmla="*/ 20 w 113"/>
                <a:gd name="T3" fmla="*/ 74 h 74"/>
                <a:gd name="T4" fmla="*/ 37 w 113"/>
                <a:gd name="T5" fmla="*/ 69 h 74"/>
                <a:gd name="T6" fmla="*/ 51 w 113"/>
                <a:gd name="T7" fmla="*/ 65 h 74"/>
                <a:gd name="T8" fmla="*/ 64 w 113"/>
                <a:gd name="T9" fmla="*/ 59 h 74"/>
                <a:gd name="T10" fmla="*/ 74 w 113"/>
                <a:gd name="T11" fmla="*/ 53 h 74"/>
                <a:gd name="T12" fmla="*/ 78 w 113"/>
                <a:gd name="T13" fmla="*/ 49 h 74"/>
                <a:gd name="T14" fmla="*/ 83 w 113"/>
                <a:gd name="T15" fmla="*/ 45 h 74"/>
                <a:gd name="T16" fmla="*/ 86 w 113"/>
                <a:gd name="T17" fmla="*/ 41 h 74"/>
                <a:gd name="T18" fmla="*/ 88 w 113"/>
                <a:gd name="T19" fmla="*/ 37 h 74"/>
                <a:gd name="T20" fmla="*/ 90 w 113"/>
                <a:gd name="T21" fmla="*/ 32 h 74"/>
                <a:gd name="T22" fmla="*/ 91 w 113"/>
                <a:gd name="T23" fmla="*/ 26 h 74"/>
                <a:gd name="T24" fmla="*/ 93 w 113"/>
                <a:gd name="T25" fmla="*/ 19 h 74"/>
                <a:gd name="T26" fmla="*/ 94 w 113"/>
                <a:gd name="T27" fmla="*/ 13 h 74"/>
                <a:gd name="T28" fmla="*/ 99 w 113"/>
                <a:gd name="T29" fmla="*/ 12 h 74"/>
                <a:gd name="T30" fmla="*/ 106 w 113"/>
                <a:gd name="T31" fmla="*/ 9 h 74"/>
                <a:gd name="T32" fmla="*/ 108 w 113"/>
                <a:gd name="T33" fmla="*/ 7 h 74"/>
                <a:gd name="T34" fmla="*/ 111 w 113"/>
                <a:gd name="T35" fmla="*/ 5 h 74"/>
                <a:gd name="T36" fmla="*/ 112 w 113"/>
                <a:gd name="T37" fmla="*/ 3 h 74"/>
                <a:gd name="T38" fmla="*/ 113 w 113"/>
                <a:gd name="T39" fmla="*/ 0 h 74"/>
                <a:gd name="T40" fmla="*/ 98 w 113"/>
                <a:gd name="T41" fmla="*/ 4 h 74"/>
                <a:gd name="T42" fmla="*/ 82 w 113"/>
                <a:gd name="T43" fmla="*/ 8 h 74"/>
                <a:gd name="T44" fmla="*/ 65 w 113"/>
                <a:gd name="T45" fmla="*/ 13 h 74"/>
                <a:gd name="T46" fmla="*/ 49 w 113"/>
                <a:gd name="T47" fmla="*/ 19 h 74"/>
                <a:gd name="T48" fmla="*/ 20 w 113"/>
                <a:gd name="T49" fmla="*/ 33 h 74"/>
                <a:gd name="T50" fmla="*/ 0 w 113"/>
                <a:gd name="T51" fmla="*/ 44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8" name="Freeform 247">
              <a:extLst>
                <a:ext uri="{FF2B5EF4-FFF2-40B4-BE49-F238E27FC236}">
                  <a16:creationId xmlns="" xmlns:a16="http://schemas.microsoft.com/office/drawing/2014/main" id="{6B88E01E-0C86-AF41-8DBE-AFD687657947}"/>
                </a:ext>
              </a:extLst>
            </p:cNvPr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70388" y="3322638"/>
              <a:ext cx="325437" cy="244475"/>
            </a:xfrm>
            <a:custGeom>
              <a:avLst/>
              <a:gdLst>
                <a:gd name="T0" fmla="*/ 98 w 746"/>
                <a:gd name="T1" fmla="*/ 452 h 469"/>
                <a:gd name="T2" fmla="*/ 54 w 746"/>
                <a:gd name="T3" fmla="*/ 440 h 469"/>
                <a:gd name="T4" fmla="*/ 21 w 746"/>
                <a:gd name="T5" fmla="*/ 429 h 469"/>
                <a:gd name="T6" fmla="*/ 5 w 746"/>
                <a:gd name="T7" fmla="*/ 413 h 469"/>
                <a:gd name="T8" fmla="*/ 0 w 746"/>
                <a:gd name="T9" fmla="*/ 363 h 469"/>
                <a:gd name="T10" fmla="*/ 5 w 746"/>
                <a:gd name="T11" fmla="*/ 309 h 469"/>
                <a:gd name="T12" fmla="*/ 23 w 746"/>
                <a:gd name="T13" fmla="*/ 273 h 469"/>
                <a:gd name="T14" fmla="*/ 56 w 746"/>
                <a:gd name="T15" fmla="*/ 228 h 469"/>
                <a:gd name="T16" fmla="*/ 121 w 746"/>
                <a:gd name="T17" fmla="*/ 204 h 469"/>
                <a:gd name="T18" fmla="*/ 166 w 746"/>
                <a:gd name="T19" fmla="*/ 188 h 469"/>
                <a:gd name="T20" fmla="*/ 235 w 746"/>
                <a:gd name="T21" fmla="*/ 173 h 469"/>
                <a:gd name="T22" fmla="*/ 262 w 746"/>
                <a:gd name="T23" fmla="*/ 153 h 469"/>
                <a:gd name="T24" fmla="*/ 267 w 746"/>
                <a:gd name="T25" fmla="*/ 136 h 469"/>
                <a:gd name="T26" fmla="*/ 292 w 746"/>
                <a:gd name="T27" fmla="*/ 120 h 469"/>
                <a:gd name="T28" fmla="*/ 332 w 746"/>
                <a:gd name="T29" fmla="*/ 115 h 469"/>
                <a:gd name="T30" fmla="*/ 359 w 746"/>
                <a:gd name="T31" fmla="*/ 101 h 469"/>
                <a:gd name="T32" fmla="*/ 389 w 746"/>
                <a:gd name="T33" fmla="*/ 67 h 469"/>
                <a:gd name="T34" fmla="*/ 425 w 746"/>
                <a:gd name="T35" fmla="*/ 22 h 469"/>
                <a:gd name="T36" fmla="*/ 450 w 746"/>
                <a:gd name="T37" fmla="*/ 6 h 469"/>
                <a:gd name="T38" fmla="*/ 486 w 746"/>
                <a:gd name="T39" fmla="*/ 0 h 469"/>
                <a:gd name="T40" fmla="*/ 507 w 746"/>
                <a:gd name="T41" fmla="*/ 29 h 469"/>
                <a:gd name="T42" fmla="*/ 532 w 746"/>
                <a:gd name="T43" fmla="*/ 53 h 469"/>
                <a:gd name="T44" fmla="*/ 553 w 746"/>
                <a:gd name="T45" fmla="*/ 107 h 469"/>
                <a:gd name="T46" fmla="*/ 579 w 746"/>
                <a:gd name="T47" fmla="*/ 159 h 469"/>
                <a:gd name="T48" fmla="*/ 613 w 746"/>
                <a:gd name="T49" fmla="*/ 172 h 469"/>
                <a:gd name="T50" fmla="*/ 628 w 746"/>
                <a:gd name="T51" fmla="*/ 193 h 469"/>
                <a:gd name="T52" fmla="*/ 650 w 746"/>
                <a:gd name="T53" fmla="*/ 233 h 469"/>
                <a:gd name="T54" fmla="*/ 702 w 746"/>
                <a:gd name="T55" fmla="*/ 279 h 469"/>
                <a:gd name="T56" fmla="*/ 741 w 746"/>
                <a:gd name="T57" fmla="*/ 315 h 469"/>
                <a:gd name="T58" fmla="*/ 711 w 746"/>
                <a:gd name="T59" fmla="*/ 345 h 469"/>
                <a:gd name="T60" fmla="*/ 691 w 746"/>
                <a:gd name="T61" fmla="*/ 342 h 469"/>
                <a:gd name="T62" fmla="*/ 679 w 746"/>
                <a:gd name="T63" fmla="*/ 321 h 469"/>
                <a:gd name="T64" fmla="*/ 651 w 746"/>
                <a:gd name="T65" fmla="*/ 330 h 469"/>
                <a:gd name="T66" fmla="*/ 639 w 746"/>
                <a:gd name="T67" fmla="*/ 352 h 469"/>
                <a:gd name="T68" fmla="*/ 604 w 746"/>
                <a:gd name="T69" fmla="*/ 356 h 469"/>
                <a:gd name="T70" fmla="*/ 553 w 746"/>
                <a:gd name="T71" fmla="*/ 356 h 469"/>
                <a:gd name="T72" fmla="*/ 522 w 746"/>
                <a:gd name="T73" fmla="*/ 365 h 469"/>
                <a:gd name="T74" fmla="*/ 496 w 746"/>
                <a:gd name="T75" fmla="*/ 387 h 469"/>
                <a:gd name="T76" fmla="*/ 486 w 746"/>
                <a:gd name="T77" fmla="*/ 394 h 469"/>
                <a:gd name="T78" fmla="*/ 426 w 746"/>
                <a:gd name="T79" fmla="*/ 400 h 469"/>
                <a:gd name="T80" fmla="*/ 396 w 746"/>
                <a:gd name="T81" fmla="*/ 392 h 469"/>
                <a:gd name="T82" fmla="*/ 349 w 746"/>
                <a:gd name="T83" fmla="*/ 354 h 469"/>
                <a:gd name="T84" fmla="*/ 319 w 746"/>
                <a:gd name="T85" fmla="*/ 345 h 469"/>
                <a:gd name="T86" fmla="*/ 291 w 746"/>
                <a:gd name="T87" fmla="*/ 355 h 469"/>
                <a:gd name="T88" fmla="*/ 266 w 746"/>
                <a:gd name="T89" fmla="*/ 377 h 469"/>
                <a:gd name="T90" fmla="*/ 227 w 746"/>
                <a:gd name="T91" fmla="*/ 437 h 469"/>
                <a:gd name="T92" fmla="*/ 150 w 746"/>
                <a:gd name="T93" fmla="*/ 439 h 469"/>
                <a:gd name="T94" fmla="*/ 135 w 746"/>
                <a:gd name="T95" fmla="*/ 448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69" name="Freeform 248">
              <a:extLst>
                <a:ext uri="{FF2B5EF4-FFF2-40B4-BE49-F238E27FC236}">
                  <a16:creationId xmlns="" xmlns:a16="http://schemas.microsoft.com/office/drawing/2014/main" id="{8A489529-B692-D546-82A2-148357480725}"/>
                </a:ext>
              </a:extLst>
            </p:cNvPr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306888" y="3490913"/>
              <a:ext cx="500062" cy="552450"/>
            </a:xfrm>
            <a:custGeom>
              <a:avLst/>
              <a:gdLst>
                <a:gd name="T0" fmla="*/ 902 w 1145"/>
                <a:gd name="T1" fmla="*/ 57 h 1053"/>
                <a:gd name="T2" fmla="*/ 993 w 1145"/>
                <a:gd name="T3" fmla="*/ 66 h 1053"/>
                <a:gd name="T4" fmla="*/ 1080 w 1145"/>
                <a:gd name="T5" fmla="*/ 81 h 1053"/>
                <a:gd name="T6" fmla="*/ 1126 w 1145"/>
                <a:gd name="T7" fmla="*/ 175 h 1053"/>
                <a:gd name="T8" fmla="*/ 1133 w 1145"/>
                <a:gd name="T9" fmla="*/ 211 h 1053"/>
                <a:gd name="T10" fmla="*/ 1058 w 1145"/>
                <a:gd name="T11" fmla="*/ 272 h 1053"/>
                <a:gd name="T12" fmla="*/ 1045 w 1145"/>
                <a:gd name="T13" fmla="*/ 360 h 1053"/>
                <a:gd name="T14" fmla="*/ 1003 w 1145"/>
                <a:gd name="T15" fmla="*/ 440 h 1053"/>
                <a:gd name="T16" fmla="*/ 990 w 1145"/>
                <a:gd name="T17" fmla="*/ 476 h 1053"/>
                <a:gd name="T18" fmla="*/ 1019 w 1145"/>
                <a:gd name="T19" fmla="*/ 576 h 1053"/>
                <a:gd name="T20" fmla="*/ 1026 w 1145"/>
                <a:gd name="T21" fmla="*/ 664 h 1053"/>
                <a:gd name="T22" fmla="*/ 1047 w 1145"/>
                <a:gd name="T23" fmla="*/ 731 h 1053"/>
                <a:gd name="T24" fmla="*/ 1079 w 1145"/>
                <a:gd name="T25" fmla="*/ 765 h 1053"/>
                <a:gd name="T26" fmla="*/ 1092 w 1145"/>
                <a:gd name="T27" fmla="*/ 825 h 1053"/>
                <a:gd name="T28" fmla="*/ 1040 w 1145"/>
                <a:gd name="T29" fmla="*/ 844 h 1053"/>
                <a:gd name="T30" fmla="*/ 997 w 1145"/>
                <a:gd name="T31" fmla="*/ 856 h 1053"/>
                <a:gd name="T32" fmla="*/ 960 w 1145"/>
                <a:gd name="T33" fmla="*/ 992 h 1053"/>
                <a:gd name="T34" fmla="*/ 930 w 1145"/>
                <a:gd name="T35" fmla="*/ 1026 h 1053"/>
                <a:gd name="T36" fmla="*/ 902 w 1145"/>
                <a:gd name="T37" fmla="*/ 1031 h 1053"/>
                <a:gd name="T38" fmla="*/ 840 w 1145"/>
                <a:gd name="T39" fmla="*/ 1053 h 1053"/>
                <a:gd name="T40" fmla="*/ 782 w 1145"/>
                <a:gd name="T41" fmla="*/ 1037 h 1053"/>
                <a:gd name="T42" fmla="*/ 743 w 1145"/>
                <a:gd name="T43" fmla="*/ 1014 h 1053"/>
                <a:gd name="T44" fmla="*/ 707 w 1145"/>
                <a:gd name="T45" fmla="*/ 997 h 1053"/>
                <a:gd name="T46" fmla="*/ 674 w 1145"/>
                <a:gd name="T47" fmla="*/ 986 h 1053"/>
                <a:gd name="T48" fmla="*/ 608 w 1145"/>
                <a:gd name="T49" fmla="*/ 987 h 1053"/>
                <a:gd name="T50" fmla="*/ 594 w 1145"/>
                <a:gd name="T51" fmla="*/ 942 h 1053"/>
                <a:gd name="T52" fmla="*/ 575 w 1145"/>
                <a:gd name="T53" fmla="*/ 884 h 1053"/>
                <a:gd name="T54" fmla="*/ 590 w 1145"/>
                <a:gd name="T55" fmla="*/ 846 h 1053"/>
                <a:gd name="T56" fmla="*/ 590 w 1145"/>
                <a:gd name="T57" fmla="*/ 779 h 1053"/>
                <a:gd name="T58" fmla="*/ 454 w 1145"/>
                <a:gd name="T59" fmla="*/ 755 h 1053"/>
                <a:gd name="T60" fmla="*/ 443 w 1145"/>
                <a:gd name="T61" fmla="*/ 785 h 1053"/>
                <a:gd name="T62" fmla="*/ 396 w 1145"/>
                <a:gd name="T63" fmla="*/ 817 h 1053"/>
                <a:gd name="T64" fmla="*/ 337 w 1145"/>
                <a:gd name="T65" fmla="*/ 797 h 1053"/>
                <a:gd name="T66" fmla="*/ 297 w 1145"/>
                <a:gd name="T67" fmla="*/ 708 h 1053"/>
                <a:gd name="T68" fmla="*/ 3 w 1145"/>
                <a:gd name="T69" fmla="*/ 671 h 1053"/>
                <a:gd name="T70" fmla="*/ 45 w 1145"/>
                <a:gd name="T71" fmla="*/ 667 h 1053"/>
                <a:gd name="T72" fmla="*/ 26 w 1145"/>
                <a:gd name="T73" fmla="*/ 631 h 1053"/>
                <a:gd name="T74" fmla="*/ 75 w 1145"/>
                <a:gd name="T75" fmla="*/ 615 h 1053"/>
                <a:gd name="T76" fmla="*/ 145 w 1145"/>
                <a:gd name="T77" fmla="*/ 614 h 1053"/>
                <a:gd name="T78" fmla="*/ 183 w 1145"/>
                <a:gd name="T79" fmla="*/ 620 h 1053"/>
                <a:gd name="T80" fmla="*/ 220 w 1145"/>
                <a:gd name="T81" fmla="*/ 574 h 1053"/>
                <a:gd name="T82" fmla="*/ 260 w 1145"/>
                <a:gd name="T83" fmla="*/ 555 h 1053"/>
                <a:gd name="T84" fmla="*/ 281 w 1145"/>
                <a:gd name="T85" fmla="*/ 440 h 1053"/>
                <a:gd name="T86" fmla="*/ 346 w 1145"/>
                <a:gd name="T87" fmla="*/ 370 h 1053"/>
                <a:gd name="T88" fmla="*/ 370 w 1145"/>
                <a:gd name="T89" fmla="*/ 276 h 1053"/>
                <a:gd name="T90" fmla="*/ 372 w 1145"/>
                <a:gd name="T91" fmla="*/ 180 h 1053"/>
                <a:gd name="T92" fmla="*/ 383 w 1145"/>
                <a:gd name="T93" fmla="*/ 122 h 1053"/>
                <a:gd name="T94" fmla="*/ 440 w 1145"/>
                <a:gd name="T95" fmla="*/ 35 h 1053"/>
                <a:gd name="T96" fmla="*/ 491 w 1145"/>
                <a:gd name="T97" fmla="*/ 30 h 1053"/>
                <a:gd name="T98" fmla="*/ 558 w 1145"/>
                <a:gd name="T99" fmla="*/ 77 h 1053"/>
                <a:gd name="T100" fmla="*/ 637 w 1145"/>
                <a:gd name="T101" fmla="*/ 73 h 1053"/>
                <a:gd name="T102" fmla="*/ 670 w 1145"/>
                <a:gd name="T103" fmla="*/ 44 h 1053"/>
                <a:gd name="T104" fmla="*/ 734 w 1145"/>
                <a:gd name="T105" fmla="*/ 34 h 1053"/>
                <a:gd name="T106" fmla="*/ 795 w 1145"/>
                <a:gd name="T107" fmla="*/ 17 h 1053"/>
                <a:gd name="T108" fmla="*/ 828 w 1145"/>
                <a:gd name="T109" fmla="*/ 8 h 1053"/>
                <a:gd name="T110" fmla="*/ 859 w 1145"/>
                <a:gd name="T111" fmla="*/ 24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0" name="Freeform 249">
              <a:extLst>
                <a:ext uri="{FF2B5EF4-FFF2-40B4-BE49-F238E27FC236}">
                  <a16:creationId xmlns="" xmlns:a16="http://schemas.microsoft.com/office/drawing/2014/main" id="{45346294-B1BA-6040-9F57-0AD6C615C6FE}"/>
                </a:ext>
              </a:extLst>
            </p:cNvPr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243388" y="3590925"/>
              <a:ext cx="55562" cy="55563"/>
            </a:xfrm>
            <a:custGeom>
              <a:avLst/>
              <a:gdLst>
                <a:gd name="T0" fmla="*/ 120 w 125"/>
                <a:gd name="T1" fmla="*/ 0 h 81"/>
                <a:gd name="T2" fmla="*/ 121 w 125"/>
                <a:gd name="T3" fmla="*/ 27 h 81"/>
                <a:gd name="T4" fmla="*/ 124 w 125"/>
                <a:gd name="T5" fmla="*/ 46 h 81"/>
                <a:gd name="T6" fmla="*/ 125 w 125"/>
                <a:gd name="T7" fmla="*/ 53 h 81"/>
                <a:gd name="T8" fmla="*/ 125 w 125"/>
                <a:gd name="T9" fmla="*/ 59 h 81"/>
                <a:gd name="T10" fmla="*/ 125 w 125"/>
                <a:gd name="T11" fmla="*/ 65 h 81"/>
                <a:gd name="T12" fmla="*/ 123 w 125"/>
                <a:gd name="T13" fmla="*/ 69 h 81"/>
                <a:gd name="T14" fmla="*/ 119 w 125"/>
                <a:gd name="T15" fmla="*/ 72 h 81"/>
                <a:gd name="T16" fmla="*/ 112 w 125"/>
                <a:gd name="T17" fmla="*/ 74 h 81"/>
                <a:gd name="T18" fmla="*/ 103 w 125"/>
                <a:gd name="T19" fmla="*/ 76 h 81"/>
                <a:gd name="T20" fmla="*/ 91 w 125"/>
                <a:gd name="T21" fmla="*/ 77 h 81"/>
                <a:gd name="T22" fmla="*/ 57 w 125"/>
                <a:gd name="T23" fmla="*/ 79 h 81"/>
                <a:gd name="T24" fmla="*/ 7 w 125"/>
                <a:gd name="T25" fmla="*/ 81 h 81"/>
                <a:gd name="T26" fmla="*/ 5 w 125"/>
                <a:gd name="T27" fmla="*/ 79 h 81"/>
                <a:gd name="T28" fmla="*/ 3 w 125"/>
                <a:gd name="T29" fmla="*/ 72 h 81"/>
                <a:gd name="T30" fmla="*/ 1 w 125"/>
                <a:gd name="T31" fmla="*/ 59 h 81"/>
                <a:gd name="T32" fmla="*/ 0 w 125"/>
                <a:gd name="T33" fmla="*/ 43 h 81"/>
                <a:gd name="T34" fmla="*/ 0 w 125"/>
                <a:gd name="T35" fmla="*/ 37 h 81"/>
                <a:gd name="T36" fmla="*/ 1 w 125"/>
                <a:gd name="T37" fmla="*/ 31 h 81"/>
                <a:gd name="T38" fmla="*/ 2 w 125"/>
                <a:gd name="T39" fmla="*/ 25 h 81"/>
                <a:gd name="T40" fmla="*/ 4 w 125"/>
                <a:gd name="T41" fmla="*/ 20 h 81"/>
                <a:gd name="T42" fmla="*/ 8 w 125"/>
                <a:gd name="T43" fmla="*/ 15 h 81"/>
                <a:gd name="T44" fmla="*/ 11 w 125"/>
                <a:gd name="T45" fmla="*/ 10 h 81"/>
                <a:gd name="T46" fmla="*/ 14 w 125"/>
                <a:gd name="T47" fmla="*/ 5 h 81"/>
                <a:gd name="T48" fmla="*/ 20 w 125"/>
                <a:gd name="T49" fmla="*/ 0 h 81"/>
                <a:gd name="T50" fmla="*/ 120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1" name="Freeform 250">
              <a:extLst>
                <a:ext uri="{FF2B5EF4-FFF2-40B4-BE49-F238E27FC236}">
                  <a16:creationId xmlns="" xmlns:a16="http://schemas.microsoft.com/office/drawing/2014/main" id="{BEFDA657-B832-7244-ABF5-F3BBF2F06F30}"/>
                </a:ext>
              </a:extLst>
            </p:cNvPr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4225925" y="3590925"/>
              <a:ext cx="152400" cy="201613"/>
            </a:xfrm>
            <a:custGeom>
              <a:avLst/>
              <a:gdLst>
                <a:gd name="T0" fmla="*/ 262 w 355"/>
                <a:gd name="T1" fmla="*/ 15 h 388"/>
                <a:gd name="T2" fmla="*/ 257 w 355"/>
                <a:gd name="T3" fmla="*/ 37 h 388"/>
                <a:gd name="T4" fmla="*/ 264 w 355"/>
                <a:gd name="T5" fmla="*/ 51 h 388"/>
                <a:gd name="T6" fmla="*/ 283 w 355"/>
                <a:gd name="T7" fmla="*/ 60 h 388"/>
                <a:gd name="T8" fmla="*/ 319 w 355"/>
                <a:gd name="T9" fmla="*/ 55 h 388"/>
                <a:gd name="T10" fmla="*/ 332 w 355"/>
                <a:gd name="T11" fmla="*/ 57 h 388"/>
                <a:gd name="T12" fmla="*/ 340 w 355"/>
                <a:gd name="T13" fmla="*/ 68 h 388"/>
                <a:gd name="T14" fmla="*/ 345 w 355"/>
                <a:gd name="T15" fmla="*/ 83 h 388"/>
                <a:gd name="T16" fmla="*/ 351 w 355"/>
                <a:gd name="T17" fmla="*/ 94 h 388"/>
                <a:gd name="T18" fmla="*/ 345 w 355"/>
                <a:gd name="T19" fmla="*/ 108 h 388"/>
                <a:gd name="T20" fmla="*/ 320 w 355"/>
                <a:gd name="T21" fmla="*/ 136 h 388"/>
                <a:gd name="T22" fmla="*/ 348 w 355"/>
                <a:gd name="T23" fmla="*/ 175 h 388"/>
                <a:gd name="T24" fmla="*/ 355 w 355"/>
                <a:gd name="T25" fmla="*/ 202 h 388"/>
                <a:gd name="T26" fmla="*/ 353 w 355"/>
                <a:gd name="T27" fmla="*/ 219 h 388"/>
                <a:gd name="T28" fmla="*/ 345 w 355"/>
                <a:gd name="T29" fmla="*/ 254 h 388"/>
                <a:gd name="T30" fmla="*/ 333 w 355"/>
                <a:gd name="T31" fmla="*/ 271 h 388"/>
                <a:gd name="T32" fmla="*/ 312 w 355"/>
                <a:gd name="T33" fmla="*/ 280 h 388"/>
                <a:gd name="T34" fmla="*/ 286 w 355"/>
                <a:gd name="T35" fmla="*/ 282 h 388"/>
                <a:gd name="T36" fmla="*/ 270 w 355"/>
                <a:gd name="T37" fmla="*/ 282 h 388"/>
                <a:gd name="T38" fmla="*/ 252 w 355"/>
                <a:gd name="T39" fmla="*/ 265 h 388"/>
                <a:gd name="T40" fmla="*/ 240 w 355"/>
                <a:gd name="T41" fmla="*/ 259 h 388"/>
                <a:gd name="T42" fmla="*/ 221 w 355"/>
                <a:gd name="T43" fmla="*/ 269 h 388"/>
                <a:gd name="T44" fmla="*/ 205 w 355"/>
                <a:gd name="T45" fmla="*/ 279 h 388"/>
                <a:gd name="T46" fmla="*/ 194 w 355"/>
                <a:gd name="T47" fmla="*/ 285 h 388"/>
                <a:gd name="T48" fmla="*/ 185 w 355"/>
                <a:gd name="T49" fmla="*/ 298 h 388"/>
                <a:gd name="T50" fmla="*/ 187 w 355"/>
                <a:gd name="T51" fmla="*/ 321 h 388"/>
                <a:gd name="T52" fmla="*/ 207 w 355"/>
                <a:gd name="T53" fmla="*/ 358 h 388"/>
                <a:gd name="T54" fmla="*/ 195 w 355"/>
                <a:gd name="T55" fmla="*/ 353 h 388"/>
                <a:gd name="T56" fmla="*/ 177 w 355"/>
                <a:gd name="T57" fmla="*/ 355 h 388"/>
                <a:gd name="T58" fmla="*/ 162 w 355"/>
                <a:gd name="T59" fmla="*/ 365 h 388"/>
                <a:gd name="T60" fmla="*/ 146 w 355"/>
                <a:gd name="T61" fmla="*/ 388 h 388"/>
                <a:gd name="T62" fmla="*/ 123 w 355"/>
                <a:gd name="T63" fmla="*/ 370 h 388"/>
                <a:gd name="T64" fmla="*/ 113 w 355"/>
                <a:gd name="T65" fmla="*/ 358 h 388"/>
                <a:gd name="T66" fmla="*/ 96 w 355"/>
                <a:gd name="T67" fmla="*/ 324 h 388"/>
                <a:gd name="T68" fmla="*/ 50 w 355"/>
                <a:gd name="T69" fmla="*/ 280 h 388"/>
                <a:gd name="T70" fmla="*/ 22 w 355"/>
                <a:gd name="T71" fmla="*/ 254 h 388"/>
                <a:gd name="T72" fmla="*/ 5 w 355"/>
                <a:gd name="T73" fmla="*/ 223 h 388"/>
                <a:gd name="T74" fmla="*/ 1 w 355"/>
                <a:gd name="T75" fmla="*/ 187 h 388"/>
                <a:gd name="T76" fmla="*/ 11 w 355"/>
                <a:gd name="T77" fmla="*/ 162 h 388"/>
                <a:gd name="T78" fmla="*/ 41 w 355"/>
                <a:gd name="T79" fmla="*/ 134 h 388"/>
                <a:gd name="T80" fmla="*/ 54 w 355"/>
                <a:gd name="T81" fmla="*/ 116 h 388"/>
                <a:gd name="T82" fmla="*/ 56 w 355"/>
                <a:gd name="T83" fmla="*/ 91 h 388"/>
                <a:gd name="T84" fmla="*/ 108 w 355"/>
                <a:gd name="T85" fmla="*/ 83 h 388"/>
                <a:gd name="T86" fmla="*/ 156 w 355"/>
                <a:gd name="T87" fmla="*/ 80 h 388"/>
                <a:gd name="T88" fmla="*/ 172 w 355"/>
                <a:gd name="T89" fmla="*/ 73 h 388"/>
                <a:gd name="T90" fmla="*/ 177 w 355"/>
                <a:gd name="T91" fmla="*/ 63 h 388"/>
                <a:gd name="T92" fmla="*/ 174 w 355"/>
                <a:gd name="T93" fmla="*/ 41 h 388"/>
                <a:gd name="T94" fmla="*/ 167 w 355"/>
                <a:gd name="T95" fmla="*/ 12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2" name="Freeform 251">
              <a:extLst>
                <a:ext uri="{FF2B5EF4-FFF2-40B4-BE49-F238E27FC236}">
                  <a16:creationId xmlns="" xmlns:a16="http://schemas.microsoft.com/office/drawing/2014/main" id="{7E10A43F-C9AB-CA46-988E-CFEE343B7EB1}"/>
                </a:ext>
              </a:extLst>
            </p:cNvPr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4759325" y="3995738"/>
              <a:ext cx="260350" cy="520700"/>
            </a:xfrm>
            <a:custGeom>
              <a:avLst/>
              <a:gdLst>
                <a:gd name="T0" fmla="*/ 0 w 599"/>
                <a:gd name="T1" fmla="*/ 259 h 993"/>
                <a:gd name="T2" fmla="*/ 182 w 599"/>
                <a:gd name="T3" fmla="*/ 224 h 993"/>
                <a:gd name="T4" fmla="*/ 230 w 599"/>
                <a:gd name="T5" fmla="*/ 240 h 993"/>
                <a:gd name="T6" fmla="*/ 258 w 599"/>
                <a:gd name="T7" fmla="*/ 258 h 993"/>
                <a:gd name="T8" fmla="*/ 252 w 599"/>
                <a:gd name="T9" fmla="*/ 296 h 993"/>
                <a:gd name="T10" fmla="*/ 234 w 599"/>
                <a:gd name="T11" fmla="*/ 327 h 993"/>
                <a:gd name="T12" fmla="*/ 250 w 599"/>
                <a:gd name="T13" fmla="*/ 357 h 993"/>
                <a:gd name="T14" fmla="*/ 294 w 599"/>
                <a:gd name="T15" fmla="*/ 365 h 993"/>
                <a:gd name="T16" fmla="*/ 319 w 599"/>
                <a:gd name="T17" fmla="*/ 340 h 993"/>
                <a:gd name="T18" fmla="*/ 338 w 599"/>
                <a:gd name="T19" fmla="*/ 317 h 993"/>
                <a:gd name="T20" fmla="*/ 332 w 599"/>
                <a:gd name="T21" fmla="*/ 261 h 993"/>
                <a:gd name="T22" fmla="*/ 314 w 599"/>
                <a:gd name="T23" fmla="*/ 204 h 993"/>
                <a:gd name="T24" fmla="*/ 271 w 599"/>
                <a:gd name="T25" fmla="*/ 157 h 993"/>
                <a:gd name="T26" fmla="*/ 254 w 599"/>
                <a:gd name="T27" fmla="*/ 125 h 993"/>
                <a:gd name="T28" fmla="*/ 270 w 599"/>
                <a:gd name="T29" fmla="*/ 62 h 993"/>
                <a:gd name="T30" fmla="*/ 320 w 599"/>
                <a:gd name="T31" fmla="*/ 55 h 993"/>
                <a:gd name="T32" fmla="*/ 418 w 599"/>
                <a:gd name="T33" fmla="*/ 60 h 993"/>
                <a:gd name="T34" fmla="*/ 521 w 599"/>
                <a:gd name="T35" fmla="*/ 36 h 993"/>
                <a:gd name="T36" fmla="*/ 597 w 599"/>
                <a:gd name="T37" fmla="*/ 3 h 993"/>
                <a:gd name="T38" fmla="*/ 597 w 599"/>
                <a:gd name="T39" fmla="*/ 30 h 993"/>
                <a:gd name="T40" fmla="*/ 597 w 599"/>
                <a:gd name="T41" fmla="*/ 126 h 993"/>
                <a:gd name="T42" fmla="*/ 592 w 599"/>
                <a:gd name="T43" fmla="*/ 228 h 993"/>
                <a:gd name="T44" fmla="*/ 585 w 599"/>
                <a:gd name="T45" fmla="*/ 276 h 993"/>
                <a:gd name="T46" fmla="*/ 550 w 599"/>
                <a:gd name="T47" fmla="*/ 337 h 993"/>
                <a:gd name="T48" fmla="*/ 468 w 599"/>
                <a:gd name="T49" fmla="*/ 402 h 993"/>
                <a:gd name="T50" fmla="*/ 374 w 599"/>
                <a:gd name="T51" fmla="*/ 426 h 993"/>
                <a:gd name="T52" fmla="*/ 353 w 599"/>
                <a:gd name="T53" fmla="*/ 464 h 993"/>
                <a:gd name="T54" fmla="*/ 293 w 599"/>
                <a:gd name="T55" fmla="*/ 507 h 993"/>
                <a:gd name="T56" fmla="*/ 243 w 599"/>
                <a:gd name="T57" fmla="*/ 549 h 993"/>
                <a:gd name="T58" fmla="*/ 229 w 599"/>
                <a:gd name="T59" fmla="*/ 582 h 993"/>
                <a:gd name="T60" fmla="*/ 237 w 599"/>
                <a:gd name="T61" fmla="*/ 619 h 993"/>
                <a:gd name="T62" fmla="*/ 267 w 599"/>
                <a:gd name="T63" fmla="*/ 654 h 993"/>
                <a:gd name="T64" fmla="*/ 254 w 599"/>
                <a:gd name="T65" fmla="*/ 694 h 993"/>
                <a:gd name="T66" fmla="*/ 265 w 599"/>
                <a:gd name="T67" fmla="*/ 729 h 993"/>
                <a:gd name="T68" fmla="*/ 267 w 599"/>
                <a:gd name="T69" fmla="*/ 790 h 993"/>
                <a:gd name="T70" fmla="*/ 256 w 599"/>
                <a:gd name="T71" fmla="*/ 814 h 993"/>
                <a:gd name="T72" fmla="*/ 193 w 599"/>
                <a:gd name="T73" fmla="*/ 873 h 993"/>
                <a:gd name="T74" fmla="*/ 147 w 599"/>
                <a:gd name="T75" fmla="*/ 887 h 993"/>
                <a:gd name="T76" fmla="*/ 102 w 599"/>
                <a:gd name="T77" fmla="*/ 894 h 993"/>
                <a:gd name="T78" fmla="*/ 87 w 599"/>
                <a:gd name="T79" fmla="*/ 913 h 993"/>
                <a:gd name="T80" fmla="*/ 95 w 599"/>
                <a:gd name="T81" fmla="*/ 939 h 993"/>
                <a:gd name="T82" fmla="*/ 91 w 599"/>
                <a:gd name="T83" fmla="*/ 992 h 993"/>
                <a:gd name="T84" fmla="*/ 74 w 599"/>
                <a:gd name="T85" fmla="*/ 810 h 993"/>
                <a:gd name="T86" fmla="*/ 58 w 599"/>
                <a:gd name="T87" fmla="*/ 765 h 993"/>
                <a:gd name="T88" fmla="*/ 41 w 599"/>
                <a:gd name="T89" fmla="*/ 720 h 993"/>
                <a:gd name="T90" fmla="*/ 108 w 599"/>
                <a:gd name="T91" fmla="*/ 666 h 993"/>
                <a:gd name="T92" fmla="*/ 109 w 599"/>
                <a:gd name="T93" fmla="*/ 614 h 993"/>
                <a:gd name="T94" fmla="*/ 149 w 599"/>
                <a:gd name="T95" fmla="*/ 571 h 993"/>
                <a:gd name="T96" fmla="*/ 174 w 599"/>
                <a:gd name="T97" fmla="*/ 526 h 993"/>
                <a:gd name="T98" fmla="*/ 168 w 599"/>
                <a:gd name="T99" fmla="*/ 441 h 993"/>
                <a:gd name="T100" fmla="*/ 152 w 599"/>
                <a:gd name="T101" fmla="*/ 364 h 993"/>
                <a:gd name="T102" fmla="*/ 81 w 599"/>
                <a:gd name="T103" fmla="*/ 341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3" name="Freeform 252">
              <a:extLst>
                <a:ext uri="{FF2B5EF4-FFF2-40B4-BE49-F238E27FC236}">
                  <a16:creationId xmlns="" xmlns:a16="http://schemas.microsoft.com/office/drawing/2014/main" id="{8CECC88F-E7D4-5E49-A47B-94D90799C238}"/>
                </a:ext>
              </a:extLst>
            </p:cNvPr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4494213" y="4235450"/>
              <a:ext cx="238125" cy="287338"/>
            </a:xfrm>
            <a:custGeom>
              <a:avLst/>
              <a:gdLst>
                <a:gd name="T0" fmla="*/ 30 w 545"/>
                <a:gd name="T1" fmla="*/ 428 h 549"/>
                <a:gd name="T2" fmla="*/ 46 w 545"/>
                <a:gd name="T3" fmla="*/ 454 h 549"/>
                <a:gd name="T4" fmla="*/ 46 w 545"/>
                <a:gd name="T5" fmla="*/ 512 h 549"/>
                <a:gd name="T6" fmla="*/ 48 w 545"/>
                <a:gd name="T7" fmla="*/ 527 h 549"/>
                <a:gd name="T8" fmla="*/ 55 w 545"/>
                <a:gd name="T9" fmla="*/ 537 h 549"/>
                <a:gd name="T10" fmla="*/ 68 w 545"/>
                <a:gd name="T11" fmla="*/ 545 h 549"/>
                <a:gd name="T12" fmla="*/ 100 w 545"/>
                <a:gd name="T13" fmla="*/ 549 h 549"/>
                <a:gd name="T14" fmla="*/ 113 w 545"/>
                <a:gd name="T15" fmla="*/ 546 h 549"/>
                <a:gd name="T16" fmla="*/ 130 w 545"/>
                <a:gd name="T17" fmla="*/ 533 h 549"/>
                <a:gd name="T18" fmla="*/ 143 w 545"/>
                <a:gd name="T19" fmla="*/ 507 h 549"/>
                <a:gd name="T20" fmla="*/ 154 w 545"/>
                <a:gd name="T21" fmla="*/ 477 h 549"/>
                <a:gd name="T22" fmla="*/ 169 w 545"/>
                <a:gd name="T23" fmla="*/ 454 h 549"/>
                <a:gd name="T24" fmla="*/ 183 w 545"/>
                <a:gd name="T25" fmla="*/ 445 h 549"/>
                <a:gd name="T26" fmla="*/ 201 w 545"/>
                <a:gd name="T27" fmla="*/ 444 h 549"/>
                <a:gd name="T28" fmla="*/ 222 w 545"/>
                <a:gd name="T29" fmla="*/ 448 h 549"/>
                <a:gd name="T30" fmla="*/ 252 w 545"/>
                <a:gd name="T31" fmla="*/ 461 h 549"/>
                <a:gd name="T32" fmla="*/ 272 w 545"/>
                <a:gd name="T33" fmla="*/ 468 h 549"/>
                <a:gd name="T34" fmla="*/ 297 w 545"/>
                <a:gd name="T35" fmla="*/ 469 h 549"/>
                <a:gd name="T36" fmla="*/ 319 w 545"/>
                <a:gd name="T37" fmla="*/ 464 h 549"/>
                <a:gd name="T38" fmla="*/ 332 w 545"/>
                <a:gd name="T39" fmla="*/ 453 h 549"/>
                <a:gd name="T40" fmla="*/ 359 w 545"/>
                <a:gd name="T41" fmla="*/ 388 h 549"/>
                <a:gd name="T42" fmla="*/ 382 w 545"/>
                <a:gd name="T43" fmla="*/ 363 h 549"/>
                <a:gd name="T44" fmla="*/ 447 w 545"/>
                <a:gd name="T45" fmla="*/ 314 h 549"/>
                <a:gd name="T46" fmla="*/ 527 w 545"/>
                <a:gd name="T47" fmla="*/ 264 h 549"/>
                <a:gd name="T48" fmla="*/ 528 w 545"/>
                <a:gd name="T49" fmla="*/ 232 h 549"/>
                <a:gd name="T50" fmla="*/ 503 w 545"/>
                <a:gd name="T51" fmla="*/ 218 h 549"/>
                <a:gd name="T52" fmla="*/ 485 w 545"/>
                <a:gd name="T53" fmla="*/ 199 h 549"/>
                <a:gd name="T54" fmla="*/ 460 w 545"/>
                <a:gd name="T55" fmla="*/ 157 h 549"/>
                <a:gd name="T56" fmla="*/ 440 w 545"/>
                <a:gd name="T57" fmla="*/ 132 h 549"/>
                <a:gd name="T58" fmla="*/ 377 w 545"/>
                <a:gd name="T59" fmla="*/ 76 h 549"/>
                <a:gd name="T60" fmla="*/ 359 w 545"/>
                <a:gd name="T61" fmla="*/ 53 h 549"/>
                <a:gd name="T62" fmla="*/ 348 w 545"/>
                <a:gd name="T63" fmla="*/ 24 h 549"/>
                <a:gd name="T64" fmla="*/ 319 w 545"/>
                <a:gd name="T65" fmla="*/ 0 h 549"/>
                <a:gd name="T66" fmla="*/ 244 w 545"/>
                <a:gd name="T67" fmla="*/ 2 h 549"/>
                <a:gd name="T68" fmla="*/ 176 w 545"/>
                <a:gd name="T69" fmla="*/ 13 h 549"/>
                <a:gd name="T70" fmla="*/ 95 w 545"/>
                <a:gd name="T71" fmla="*/ 22 h 549"/>
                <a:gd name="T72" fmla="*/ 71 w 545"/>
                <a:gd name="T73" fmla="*/ 27 h 549"/>
                <a:gd name="T74" fmla="*/ 67 w 545"/>
                <a:gd name="T75" fmla="*/ 38 h 549"/>
                <a:gd name="T76" fmla="*/ 73 w 545"/>
                <a:gd name="T77" fmla="*/ 56 h 549"/>
                <a:gd name="T78" fmla="*/ 84 w 545"/>
                <a:gd name="T79" fmla="*/ 74 h 549"/>
                <a:gd name="T80" fmla="*/ 86 w 545"/>
                <a:gd name="T81" fmla="*/ 107 h 549"/>
                <a:gd name="T82" fmla="*/ 74 w 545"/>
                <a:gd name="T83" fmla="*/ 171 h 549"/>
                <a:gd name="T84" fmla="*/ 62 w 545"/>
                <a:gd name="T85" fmla="*/ 237 h 549"/>
                <a:gd name="T86" fmla="*/ 47 w 545"/>
                <a:gd name="T87" fmla="*/ 263 h 549"/>
                <a:gd name="T88" fmla="*/ 26 w 545"/>
                <a:gd name="T89" fmla="*/ 277 h 549"/>
                <a:gd name="T90" fmla="*/ 5 w 545"/>
                <a:gd name="T91" fmla="*/ 307 h 549"/>
                <a:gd name="T92" fmla="*/ 1 w 545"/>
                <a:gd name="T93" fmla="*/ 339 h 549"/>
                <a:gd name="T94" fmla="*/ 8 w 545"/>
                <a:gd name="T95" fmla="*/ 367 h 549"/>
                <a:gd name="T96" fmla="*/ 8 w 545"/>
                <a:gd name="T97" fmla="*/ 391 h 549"/>
                <a:gd name="T98" fmla="*/ 0 w 545"/>
                <a:gd name="T99" fmla="*/ 408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4" name="Freeform 253">
              <a:extLst>
                <a:ext uri="{FF2B5EF4-FFF2-40B4-BE49-F238E27FC236}">
                  <a16:creationId xmlns="" xmlns:a16="http://schemas.microsoft.com/office/drawing/2014/main" id="{5463714E-8C5B-1C40-BE0E-03588F991352}"/>
                </a:ext>
              </a:extLst>
            </p:cNvPr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5067300" y="4037013"/>
              <a:ext cx="196850" cy="434975"/>
            </a:xfrm>
            <a:custGeom>
              <a:avLst/>
              <a:gdLst>
                <a:gd name="T0" fmla="*/ 112 w 452"/>
                <a:gd name="T1" fmla="*/ 261 h 832"/>
                <a:gd name="T2" fmla="*/ 138 w 452"/>
                <a:gd name="T3" fmla="*/ 248 h 832"/>
                <a:gd name="T4" fmla="*/ 165 w 452"/>
                <a:gd name="T5" fmla="*/ 240 h 832"/>
                <a:gd name="T6" fmla="*/ 192 w 452"/>
                <a:gd name="T7" fmla="*/ 232 h 832"/>
                <a:gd name="T8" fmla="*/ 215 w 452"/>
                <a:gd name="T9" fmla="*/ 217 h 832"/>
                <a:gd name="T10" fmla="*/ 232 w 452"/>
                <a:gd name="T11" fmla="*/ 200 h 832"/>
                <a:gd name="T12" fmla="*/ 232 w 452"/>
                <a:gd name="T13" fmla="*/ 179 h 832"/>
                <a:gd name="T14" fmla="*/ 265 w 452"/>
                <a:gd name="T15" fmla="*/ 178 h 832"/>
                <a:gd name="T16" fmla="*/ 282 w 452"/>
                <a:gd name="T17" fmla="*/ 173 h 832"/>
                <a:gd name="T18" fmla="*/ 298 w 452"/>
                <a:gd name="T19" fmla="*/ 162 h 832"/>
                <a:gd name="T20" fmla="*/ 320 w 452"/>
                <a:gd name="T21" fmla="*/ 133 h 832"/>
                <a:gd name="T22" fmla="*/ 350 w 452"/>
                <a:gd name="T23" fmla="*/ 75 h 832"/>
                <a:gd name="T24" fmla="*/ 378 w 452"/>
                <a:gd name="T25" fmla="*/ 0 h 832"/>
                <a:gd name="T26" fmla="*/ 385 w 452"/>
                <a:gd name="T27" fmla="*/ 19 h 832"/>
                <a:gd name="T28" fmla="*/ 407 w 452"/>
                <a:gd name="T29" fmla="*/ 47 h 832"/>
                <a:gd name="T30" fmla="*/ 448 w 452"/>
                <a:gd name="T31" fmla="*/ 85 h 832"/>
                <a:gd name="T32" fmla="*/ 440 w 452"/>
                <a:gd name="T33" fmla="*/ 103 h 832"/>
                <a:gd name="T34" fmla="*/ 444 w 452"/>
                <a:gd name="T35" fmla="*/ 138 h 832"/>
                <a:gd name="T36" fmla="*/ 452 w 452"/>
                <a:gd name="T37" fmla="*/ 185 h 832"/>
                <a:gd name="T38" fmla="*/ 448 w 452"/>
                <a:gd name="T39" fmla="*/ 206 h 832"/>
                <a:gd name="T40" fmla="*/ 428 w 452"/>
                <a:gd name="T41" fmla="*/ 234 h 832"/>
                <a:gd name="T42" fmla="*/ 409 w 452"/>
                <a:gd name="T43" fmla="*/ 261 h 832"/>
                <a:gd name="T44" fmla="*/ 405 w 452"/>
                <a:gd name="T45" fmla="*/ 283 h 832"/>
                <a:gd name="T46" fmla="*/ 393 w 452"/>
                <a:gd name="T47" fmla="*/ 308 h 832"/>
                <a:gd name="T48" fmla="*/ 383 w 452"/>
                <a:gd name="T49" fmla="*/ 318 h 832"/>
                <a:gd name="T50" fmla="*/ 377 w 452"/>
                <a:gd name="T51" fmla="*/ 332 h 832"/>
                <a:gd name="T52" fmla="*/ 368 w 452"/>
                <a:gd name="T53" fmla="*/ 364 h 832"/>
                <a:gd name="T54" fmla="*/ 338 w 452"/>
                <a:gd name="T55" fmla="*/ 427 h 832"/>
                <a:gd name="T56" fmla="*/ 321 w 452"/>
                <a:gd name="T57" fmla="*/ 470 h 832"/>
                <a:gd name="T58" fmla="*/ 318 w 452"/>
                <a:gd name="T59" fmla="*/ 500 h 832"/>
                <a:gd name="T60" fmla="*/ 310 w 452"/>
                <a:gd name="T61" fmla="*/ 531 h 832"/>
                <a:gd name="T62" fmla="*/ 281 w 452"/>
                <a:gd name="T63" fmla="*/ 602 h 832"/>
                <a:gd name="T64" fmla="*/ 260 w 452"/>
                <a:gd name="T65" fmla="*/ 637 h 832"/>
                <a:gd name="T66" fmla="*/ 242 w 452"/>
                <a:gd name="T67" fmla="*/ 655 h 832"/>
                <a:gd name="T68" fmla="*/ 232 w 452"/>
                <a:gd name="T69" fmla="*/ 660 h 832"/>
                <a:gd name="T70" fmla="*/ 228 w 452"/>
                <a:gd name="T71" fmla="*/ 714 h 832"/>
                <a:gd name="T72" fmla="*/ 215 w 452"/>
                <a:gd name="T73" fmla="*/ 759 h 832"/>
                <a:gd name="T74" fmla="*/ 191 w 452"/>
                <a:gd name="T75" fmla="*/ 795 h 832"/>
                <a:gd name="T76" fmla="*/ 157 w 452"/>
                <a:gd name="T77" fmla="*/ 819 h 832"/>
                <a:gd name="T78" fmla="*/ 110 w 452"/>
                <a:gd name="T79" fmla="*/ 831 h 832"/>
                <a:gd name="T80" fmla="*/ 80 w 452"/>
                <a:gd name="T81" fmla="*/ 827 h 832"/>
                <a:gd name="T82" fmla="*/ 73 w 452"/>
                <a:gd name="T83" fmla="*/ 817 h 832"/>
                <a:gd name="T84" fmla="*/ 50 w 452"/>
                <a:gd name="T85" fmla="*/ 810 h 832"/>
                <a:gd name="T86" fmla="*/ 26 w 452"/>
                <a:gd name="T87" fmla="*/ 798 h 832"/>
                <a:gd name="T88" fmla="*/ 12 w 452"/>
                <a:gd name="T89" fmla="*/ 777 h 832"/>
                <a:gd name="T90" fmla="*/ 3 w 452"/>
                <a:gd name="T91" fmla="*/ 752 h 832"/>
                <a:gd name="T92" fmla="*/ 0 w 452"/>
                <a:gd name="T93" fmla="*/ 708 h 832"/>
                <a:gd name="T94" fmla="*/ 4 w 452"/>
                <a:gd name="T95" fmla="*/ 694 h 832"/>
                <a:gd name="T96" fmla="*/ 19 w 452"/>
                <a:gd name="T97" fmla="*/ 678 h 832"/>
                <a:gd name="T98" fmla="*/ 11 w 452"/>
                <a:gd name="T99" fmla="*/ 672 h 832"/>
                <a:gd name="T100" fmla="*/ 0 w 452"/>
                <a:gd name="T101" fmla="*/ 652 h 832"/>
                <a:gd name="T102" fmla="*/ 5 w 452"/>
                <a:gd name="T103" fmla="*/ 628 h 832"/>
                <a:gd name="T104" fmla="*/ 8 w 452"/>
                <a:gd name="T105" fmla="*/ 610 h 832"/>
                <a:gd name="T106" fmla="*/ 5 w 452"/>
                <a:gd name="T107" fmla="*/ 591 h 832"/>
                <a:gd name="T108" fmla="*/ 18 w 452"/>
                <a:gd name="T109" fmla="*/ 587 h 832"/>
                <a:gd name="T110" fmla="*/ 43 w 452"/>
                <a:gd name="T111" fmla="*/ 568 h 832"/>
                <a:gd name="T112" fmla="*/ 63 w 452"/>
                <a:gd name="T113" fmla="*/ 538 h 832"/>
                <a:gd name="T114" fmla="*/ 76 w 452"/>
                <a:gd name="T115" fmla="*/ 506 h 832"/>
                <a:gd name="T116" fmla="*/ 86 w 452"/>
                <a:gd name="T117" fmla="*/ 462 h 832"/>
                <a:gd name="T118" fmla="*/ 83 w 452"/>
                <a:gd name="T119" fmla="*/ 438 h 832"/>
                <a:gd name="T120" fmla="*/ 70 w 452"/>
                <a:gd name="T121" fmla="*/ 408 h 832"/>
                <a:gd name="T122" fmla="*/ 56 w 452"/>
                <a:gd name="T123" fmla="*/ 382 h 832"/>
                <a:gd name="T124" fmla="*/ 53 w 452"/>
                <a:gd name="T125" fmla="*/ 363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5" name="Freeform 254">
              <a:extLst>
                <a:ext uri="{FF2B5EF4-FFF2-40B4-BE49-F238E27FC236}">
                  <a16:creationId xmlns="" xmlns:a16="http://schemas.microsoft.com/office/drawing/2014/main" id="{10FF69AA-11D2-7E41-842C-58E94C580294}"/>
                </a:ext>
              </a:extLst>
            </p:cNvPr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4743450" y="3735388"/>
              <a:ext cx="36513" cy="66675"/>
            </a:xfrm>
            <a:custGeom>
              <a:avLst/>
              <a:gdLst>
                <a:gd name="T0" fmla="*/ 80 w 80"/>
                <a:gd name="T1" fmla="*/ 2 h 126"/>
                <a:gd name="T2" fmla="*/ 80 w 80"/>
                <a:gd name="T3" fmla="*/ 101 h 126"/>
                <a:gd name="T4" fmla="*/ 78 w 80"/>
                <a:gd name="T5" fmla="*/ 104 h 126"/>
                <a:gd name="T6" fmla="*/ 75 w 80"/>
                <a:gd name="T7" fmla="*/ 107 h 126"/>
                <a:gd name="T8" fmla="*/ 70 w 80"/>
                <a:gd name="T9" fmla="*/ 109 h 126"/>
                <a:gd name="T10" fmla="*/ 67 w 80"/>
                <a:gd name="T11" fmla="*/ 111 h 126"/>
                <a:gd name="T12" fmla="*/ 58 w 80"/>
                <a:gd name="T13" fmla="*/ 114 h 126"/>
                <a:gd name="T14" fmla="*/ 48 w 80"/>
                <a:gd name="T15" fmla="*/ 116 h 126"/>
                <a:gd name="T16" fmla="*/ 36 w 80"/>
                <a:gd name="T17" fmla="*/ 117 h 126"/>
                <a:gd name="T18" fmla="*/ 25 w 80"/>
                <a:gd name="T19" fmla="*/ 119 h 126"/>
                <a:gd name="T20" fmla="*/ 13 w 80"/>
                <a:gd name="T21" fmla="*/ 123 h 126"/>
                <a:gd name="T22" fmla="*/ 0 w 80"/>
                <a:gd name="T23" fmla="*/ 126 h 126"/>
                <a:gd name="T24" fmla="*/ 7 w 80"/>
                <a:gd name="T25" fmla="*/ 40 h 126"/>
                <a:gd name="T26" fmla="*/ 23 w 80"/>
                <a:gd name="T27" fmla="*/ 27 h 126"/>
                <a:gd name="T28" fmla="*/ 41 w 80"/>
                <a:gd name="T29" fmla="*/ 12 h 126"/>
                <a:gd name="T30" fmla="*/ 51 w 80"/>
                <a:gd name="T31" fmla="*/ 5 h 126"/>
                <a:gd name="T32" fmla="*/ 60 w 80"/>
                <a:gd name="T33" fmla="*/ 1 h 126"/>
                <a:gd name="T34" fmla="*/ 65 w 80"/>
                <a:gd name="T35" fmla="*/ 0 h 126"/>
                <a:gd name="T36" fmla="*/ 70 w 80"/>
                <a:gd name="T37" fmla="*/ 0 h 126"/>
                <a:gd name="T38" fmla="*/ 75 w 80"/>
                <a:gd name="T39" fmla="*/ 1 h 126"/>
                <a:gd name="T40" fmla="*/ 80 w 80"/>
                <a:gd name="T41" fmla="*/ 2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6" name="Freeform 255">
              <a:extLst>
                <a:ext uri="{FF2B5EF4-FFF2-40B4-BE49-F238E27FC236}">
                  <a16:creationId xmlns="" xmlns:a16="http://schemas.microsoft.com/office/drawing/2014/main" id="{371DD61D-71DA-C14E-A38F-BBEF14D0C02A}"/>
                </a:ext>
              </a:extLst>
            </p:cNvPr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4732338" y="3695700"/>
              <a:ext cx="55562" cy="60325"/>
            </a:xfrm>
            <a:custGeom>
              <a:avLst/>
              <a:gdLst>
                <a:gd name="T0" fmla="*/ 113 w 124"/>
                <a:gd name="T1" fmla="*/ 0 h 117"/>
                <a:gd name="T2" fmla="*/ 116 w 124"/>
                <a:gd name="T3" fmla="*/ 15 h 117"/>
                <a:gd name="T4" fmla="*/ 122 w 124"/>
                <a:gd name="T5" fmla="*/ 35 h 117"/>
                <a:gd name="T6" fmla="*/ 124 w 124"/>
                <a:gd name="T7" fmla="*/ 45 h 117"/>
                <a:gd name="T8" fmla="*/ 124 w 124"/>
                <a:gd name="T9" fmla="*/ 54 h 117"/>
                <a:gd name="T10" fmla="*/ 124 w 124"/>
                <a:gd name="T11" fmla="*/ 59 h 117"/>
                <a:gd name="T12" fmla="*/ 123 w 124"/>
                <a:gd name="T13" fmla="*/ 64 h 117"/>
                <a:gd name="T14" fmla="*/ 122 w 124"/>
                <a:gd name="T15" fmla="*/ 69 h 117"/>
                <a:gd name="T16" fmla="*/ 119 w 124"/>
                <a:gd name="T17" fmla="*/ 73 h 117"/>
                <a:gd name="T18" fmla="*/ 114 w 124"/>
                <a:gd name="T19" fmla="*/ 72 h 117"/>
                <a:gd name="T20" fmla="*/ 108 w 124"/>
                <a:gd name="T21" fmla="*/ 71 h 117"/>
                <a:gd name="T22" fmla="*/ 103 w 124"/>
                <a:gd name="T23" fmla="*/ 72 h 117"/>
                <a:gd name="T24" fmla="*/ 96 w 124"/>
                <a:gd name="T25" fmla="*/ 73 h 117"/>
                <a:gd name="T26" fmla="*/ 83 w 124"/>
                <a:gd name="T27" fmla="*/ 78 h 117"/>
                <a:gd name="T28" fmla="*/ 71 w 124"/>
                <a:gd name="T29" fmla="*/ 85 h 117"/>
                <a:gd name="T30" fmla="*/ 46 w 124"/>
                <a:gd name="T31" fmla="*/ 103 h 117"/>
                <a:gd name="T32" fmla="*/ 26 w 124"/>
                <a:gd name="T33" fmla="*/ 117 h 117"/>
                <a:gd name="T34" fmla="*/ 23 w 124"/>
                <a:gd name="T35" fmla="*/ 112 h 117"/>
                <a:gd name="T36" fmla="*/ 13 w 124"/>
                <a:gd name="T37" fmla="*/ 101 h 117"/>
                <a:gd name="T38" fmla="*/ 4 w 124"/>
                <a:gd name="T39" fmla="*/ 89 h 117"/>
                <a:gd name="T40" fmla="*/ 0 w 124"/>
                <a:gd name="T41" fmla="*/ 79 h 117"/>
                <a:gd name="T42" fmla="*/ 1 w 124"/>
                <a:gd name="T43" fmla="*/ 76 h 117"/>
                <a:gd name="T44" fmla="*/ 2 w 124"/>
                <a:gd name="T45" fmla="*/ 72 h 117"/>
                <a:gd name="T46" fmla="*/ 5 w 124"/>
                <a:gd name="T47" fmla="*/ 67 h 117"/>
                <a:gd name="T48" fmla="*/ 9 w 124"/>
                <a:gd name="T49" fmla="*/ 62 h 117"/>
                <a:gd name="T50" fmla="*/ 17 w 124"/>
                <a:gd name="T51" fmla="*/ 52 h 117"/>
                <a:gd name="T52" fmla="*/ 27 w 124"/>
                <a:gd name="T53" fmla="*/ 42 h 117"/>
                <a:gd name="T54" fmla="*/ 48 w 124"/>
                <a:gd name="T55" fmla="*/ 22 h 117"/>
                <a:gd name="T56" fmla="*/ 60 w 124"/>
                <a:gd name="T57" fmla="*/ 12 h 117"/>
                <a:gd name="T58" fmla="*/ 73 w 124"/>
                <a:gd name="T59" fmla="*/ 12 h 117"/>
                <a:gd name="T60" fmla="*/ 86 w 124"/>
                <a:gd name="T61" fmla="*/ 12 h 117"/>
                <a:gd name="T62" fmla="*/ 100 w 124"/>
                <a:gd name="T63" fmla="*/ 6 h 117"/>
                <a:gd name="T64" fmla="*/ 113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7" name="Freeform 256">
              <a:extLst>
                <a:ext uri="{FF2B5EF4-FFF2-40B4-BE49-F238E27FC236}">
                  <a16:creationId xmlns="" xmlns:a16="http://schemas.microsoft.com/office/drawing/2014/main" id="{2F1C488B-4F72-F142-A9F8-3AA2E5240722}"/>
                </a:ext>
              </a:extLst>
            </p:cNvPr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5041900" y="2395538"/>
              <a:ext cx="503238" cy="473075"/>
            </a:xfrm>
            <a:custGeom>
              <a:avLst/>
              <a:gdLst>
                <a:gd name="T0" fmla="*/ 928 w 1156"/>
                <a:gd name="T1" fmla="*/ 191 h 900"/>
                <a:gd name="T2" fmla="*/ 859 w 1156"/>
                <a:gd name="T3" fmla="*/ 162 h 900"/>
                <a:gd name="T4" fmla="*/ 773 w 1156"/>
                <a:gd name="T5" fmla="*/ 111 h 900"/>
                <a:gd name="T6" fmla="*/ 617 w 1156"/>
                <a:gd name="T7" fmla="*/ 104 h 900"/>
                <a:gd name="T8" fmla="*/ 551 w 1156"/>
                <a:gd name="T9" fmla="*/ 154 h 900"/>
                <a:gd name="T10" fmla="*/ 504 w 1156"/>
                <a:gd name="T11" fmla="*/ 179 h 900"/>
                <a:gd name="T12" fmla="*/ 426 w 1156"/>
                <a:gd name="T13" fmla="*/ 197 h 900"/>
                <a:gd name="T14" fmla="*/ 383 w 1156"/>
                <a:gd name="T15" fmla="*/ 199 h 900"/>
                <a:gd name="T16" fmla="*/ 355 w 1156"/>
                <a:gd name="T17" fmla="*/ 173 h 900"/>
                <a:gd name="T18" fmla="*/ 260 w 1156"/>
                <a:gd name="T19" fmla="*/ 136 h 900"/>
                <a:gd name="T20" fmla="*/ 228 w 1156"/>
                <a:gd name="T21" fmla="*/ 86 h 900"/>
                <a:gd name="T22" fmla="*/ 220 w 1156"/>
                <a:gd name="T23" fmla="*/ 23 h 900"/>
                <a:gd name="T24" fmla="*/ 188 w 1156"/>
                <a:gd name="T25" fmla="*/ 1 h 900"/>
                <a:gd name="T26" fmla="*/ 155 w 1156"/>
                <a:gd name="T27" fmla="*/ 21 h 900"/>
                <a:gd name="T28" fmla="*/ 136 w 1156"/>
                <a:gd name="T29" fmla="*/ 67 h 900"/>
                <a:gd name="T30" fmla="*/ 79 w 1156"/>
                <a:gd name="T31" fmla="*/ 54 h 900"/>
                <a:gd name="T32" fmla="*/ 4 w 1156"/>
                <a:gd name="T33" fmla="*/ 16 h 900"/>
                <a:gd name="T34" fmla="*/ 5 w 1156"/>
                <a:gd name="T35" fmla="*/ 72 h 900"/>
                <a:gd name="T36" fmla="*/ 45 w 1156"/>
                <a:gd name="T37" fmla="*/ 146 h 900"/>
                <a:gd name="T38" fmla="*/ 73 w 1156"/>
                <a:gd name="T39" fmla="*/ 205 h 900"/>
                <a:gd name="T40" fmla="*/ 135 w 1156"/>
                <a:gd name="T41" fmla="*/ 284 h 900"/>
                <a:gd name="T42" fmla="*/ 122 w 1156"/>
                <a:gd name="T43" fmla="*/ 316 h 900"/>
                <a:gd name="T44" fmla="*/ 133 w 1156"/>
                <a:gd name="T45" fmla="*/ 370 h 900"/>
                <a:gd name="T46" fmla="*/ 188 w 1156"/>
                <a:gd name="T47" fmla="*/ 428 h 900"/>
                <a:gd name="T48" fmla="*/ 259 w 1156"/>
                <a:gd name="T49" fmla="*/ 456 h 900"/>
                <a:gd name="T50" fmla="*/ 259 w 1156"/>
                <a:gd name="T51" fmla="*/ 524 h 900"/>
                <a:gd name="T52" fmla="*/ 335 w 1156"/>
                <a:gd name="T53" fmla="*/ 581 h 900"/>
                <a:gd name="T54" fmla="*/ 423 w 1156"/>
                <a:gd name="T55" fmla="*/ 664 h 900"/>
                <a:gd name="T56" fmla="*/ 471 w 1156"/>
                <a:gd name="T57" fmla="*/ 720 h 900"/>
                <a:gd name="T58" fmla="*/ 504 w 1156"/>
                <a:gd name="T59" fmla="*/ 733 h 900"/>
                <a:gd name="T60" fmla="*/ 542 w 1156"/>
                <a:gd name="T61" fmla="*/ 755 h 900"/>
                <a:gd name="T62" fmla="*/ 598 w 1156"/>
                <a:gd name="T63" fmla="*/ 787 h 900"/>
                <a:gd name="T64" fmla="*/ 685 w 1156"/>
                <a:gd name="T65" fmla="*/ 795 h 900"/>
                <a:gd name="T66" fmla="*/ 732 w 1156"/>
                <a:gd name="T67" fmla="*/ 780 h 900"/>
                <a:gd name="T68" fmla="*/ 779 w 1156"/>
                <a:gd name="T69" fmla="*/ 764 h 900"/>
                <a:gd name="T70" fmla="*/ 801 w 1156"/>
                <a:gd name="T71" fmla="*/ 796 h 900"/>
                <a:gd name="T72" fmla="*/ 813 w 1156"/>
                <a:gd name="T73" fmla="*/ 857 h 900"/>
                <a:gd name="T74" fmla="*/ 874 w 1156"/>
                <a:gd name="T75" fmla="*/ 874 h 900"/>
                <a:gd name="T76" fmla="*/ 1011 w 1156"/>
                <a:gd name="T77" fmla="*/ 892 h 900"/>
                <a:gd name="T78" fmla="*/ 1091 w 1156"/>
                <a:gd name="T79" fmla="*/ 879 h 900"/>
                <a:gd name="T80" fmla="*/ 1099 w 1156"/>
                <a:gd name="T81" fmla="*/ 831 h 900"/>
                <a:gd name="T82" fmla="*/ 1156 w 1156"/>
                <a:gd name="T83" fmla="*/ 770 h 900"/>
                <a:gd name="T84" fmla="*/ 1132 w 1156"/>
                <a:gd name="T85" fmla="*/ 750 h 900"/>
                <a:gd name="T86" fmla="*/ 1096 w 1156"/>
                <a:gd name="T87" fmla="*/ 708 h 900"/>
                <a:gd name="T88" fmla="*/ 1031 w 1156"/>
                <a:gd name="T89" fmla="*/ 643 h 900"/>
                <a:gd name="T90" fmla="*/ 1018 w 1156"/>
                <a:gd name="T91" fmla="*/ 603 h 900"/>
                <a:gd name="T92" fmla="*/ 1044 w 1156"/>
                <a:gd name="T93" fmla="*/ 559 h 900"/>
                <a:gd name="T94" fmla="*/ 1048 w 1156"/>
                <a:gd name="T95" fmla="*/ 526 h 900"/>
                <a:gd name="T96" fmla="*/ 1030 w 1156"/>
                <a:gd name="T97" fmla="*/ 512 h 900"/>
                <a:gd name="T98" fmla="*/ 983 w 1156"/>
                <a:gd name="T99" fmla="*/ 507 h 900"/>
                <a:gd name="T100" fmla="*/ 954 w 1156"/>
                <a:gd name="T101" fmla="*/ 453 h 900"/>
                <a:gd name="T102" fmla="*/ 937 w 1156"/>
                <a:gd name="T103" fmla="*/ 373 h 900"/>
                <a:gd name="T104" fmla="*/ 924 w 1156"/>
                <a:gd name="T105" fmla="*/ 357 h 900"/>
                <a:gd name="T106" fmla="*/ 940 w 1156"/>
                <a:gd name="T107" fmla="*/ 334 h 900"/>
                <a:gd name="T108" fmla="*/ 960 w 1156"/>
                <a:gd name="T109" fmla="*/ 293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257">
              <a:extLst>
                <a:ext uri="{FF2B5EF4-FFF2-40B4-BE49-F238E27FC236}">
                  <a16:creationId xmlns="" xmlns:a16="http://schemas.microsoft.com/office/drawing/2014/main" id="{95F05D0D-B794-584F-B759-2C06E6C1F3A6}"/>
                </a:ext>
              </a:extLst>
            </p:cNvPr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5065713" y="3052763"/>
              <a:ext cx="247650" cy="228600"/>
            </a:xfrm>
            <a:custGeom>
              <a:avLst/>
              <a:gdLst>
                <a:gd name="T0" fmla="*/ 26 w 571"/>
                <a:gd name="T1" fmla="*/ 190 h 443"/>
                <a:gd name="T2" fmla="*/ 37 w 571"/>
                <a:gd name="T3" fmla="*/ 177 h 443"/>
                <a:gd name="T4" fmla="*/ 41 w 571"/>
                <a:gd name="T5" fmla="*/ 164 h 443"/>
                <a:gd name="T6" fmla="*/ 39 w 571"/>
                <a:gd name="T7" fmla="*/ 129 h 443"/>
                <a:gd name="T8" fmla="*/ 44 w 571"/>
                <a:gd name="T9" fmla="*/ 120 h 443"/>
                <a:gd name="T10" fmla="*/ 55 w 571"/>
                <a:gd name="T11" fmla="*/ 112 h 443"/>
                <a:gd name="T12" fmla="*/ 68 w 571"/>
                <a:gd name="T13" fmla="*/ 107 h 443"/>
                <a:gd name="T14" fmla="*/ 80 w 571"/>
                <a:gd name="T15" fmla="*/ 104 h 443"/>
                <a:gd name="T16" fmla="*/ 103 w 571"/>
                <a:gd name="T17" fmla="*/ 106 h 443"/>
                <a:gd name="T18" fmla="*/ 124 w 571"/>
                <a:gd name="T19" fmla="*/ 109 h 443"/>
                <a:gd name="T20" fmla="*/ 158 w 571"/>
                <a:gd name="T21" fmla="*/ 120 h 443"/>
                <a:gd name="T22" fmla="*/ 184 w 571"/>
                <a:gd name="T23" fmla="*/ 135 h 443"/>
                <a:gd name="T24" fmla="*/ 206 w 571"/>
                <a:gd name="T25" fmla="*/ 154 h 443"/>
                <a:gd name="T26" fmla="*/ 254 w 571"/>
                <a:gd name="T27" fmla="*/ 92 h 443"/>
                <a:gd name="T28" fmla="*/ 285 w 571"/>
                <a:gd name="T29" fmla="*/ 49 h 443"/>
                <a:gd name="T30" fmla="*/ 538 w 571"/>
                <a:gd name="T31" fmla="*/ 43 h 443"/>
                <a:gd name="T32" fmla="*/ 557 w 571"/>
                <a:gd name="T33" fmla="*/ 78 h 443"/>
                <a:gd name="T34" fmla="*/ 562 w 571"/>
                <a:gd name="T35" fmla="*/ 98 h 443"/>
                <a:gd name="T36" fmla="*/ 564 w 571"/>
                <a:gd name="T37" fmla="*/ 123 h 443"/>
                <a:gd name="T38" fmla="*/ 568 w 571"/>
                <a:gd name="T39" fmla="*/ 151 h 443"/>
                <a:gd name="T40" fmla="*/ 571 w 571"/>
                <a:gd name="T41" fmla="*/ 178 h 443"/>
                <a:gd name="T42" fmla="*/ 564 w 571"/>
                <a:gd name="T43" fmla="*/ 180 h 443"/>
                <a:gd name="T44" fmla="*/ 562 w 571"/>
                <a:gd name="T45" fmla="*/ 179 h 443"/>
                <a:gd name="T46" fmla="*/ 558 w 571"/>
                <a:gd name="T47" fmla="*/ 184 h 443"/>
                <a:gd name="T48" fmla="*/ 548 w 571"/>
                <a:gd name="T49" fmla="*/ 207 h 443"/>
                <a:gd name="T50" fmla="*/ 534 w 571"/>
                <a:gd name="T51" fmla="*/ 225 h 443"/>
                <a:gd name="T52" fmla="*/ 515 w 571"/>
                <a:gd name="T53" fmla="*/ 239 h 443"/>
                <a:gd name="T54" fmla="*/ 494 w 571"/>
                <a:gd name="T55" fmla="*/ 249 h 443"/>
                <a:gd name="T56" fmla="*/ 405 w 571"/>
                <a:gd name="T57" fmla="*/ 283 h 443"/>
                <a:gd name="T58" fmla="*/ 347 w 571"/>
                <a:gd name="T59" fmla="*/ 307 h 443"/>
                <a:gd name="T60" fmla="*/ 295 w 571"/>
                <a:gd name="T61" fmla="*/ 328 h 443"/>
                <a:gd name="T62" fmla="*/ 245 w 571"/>
                <a:gd name="T63" fmla="*/ 345 h 443"/>
                <a:gd name="T64" fmla="*/ 186 w 571"/>
                <a:gd name="T65" fmla="*/ 363 h 443"/>
                <a:gd name="T66" fmla="*/ 167 w 571"/>
                <a:gd name="T67" fmla="*/ 371 h 443"/>
                <a:gd name="T68" fmla="*/ 149 w 571"/>
                <a:gd name="T69" fmla="*/ 381 h 443"/>
                <a:gd name="T70" fmla="*/ 119 w 571"/>
                <a:gd name="T71" fmla="*/ 403 h 443"/>
                <a:gd name="T72" fmla="*/ 92 w 571"/>
                <a:gd name="T73" fmla="*/ 426 h 443"/>
                <a:gd name="T74" fmla="*/ 67 w 571"/>
                <a:gd name="T75" fmla="*/ 443 h 443"/>
                <a:gd name="T76" fmla="*/ 50 w 571"/>
                <a:gd name="T77" fmla="*/ 378 h 443"/>
                <a:gd name="T78" fmla="*/ 33 w 571"/>
                <a:gd name="T79" fmla="*/ 313 h 443"/>
                <a:gd name="T80" fmla="*/ 16 w 571"/>
                <a:gd name="T81" fmla="*/ 251 h 443"/>
                <a:gd name="T82" fmla="*/ 0 w 571"/>
                <a:gd name="T83" fmla="*/ 196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" name="Freeform 258">
              <a:extLst>
                <a:ext uri="{FF2B5EF4-FFF2-40B4-BE49-F238E27FC236}">
                  <a16:creationId xmlns="" xmlns:a16="http://schemas.microsoft.com/office/drawing/2014/main" id="{D06A2673-DA6F-C042-8108-54CDBD5758FA}"/>
                </a:ext>
              </a:extLst>
            </p:cNvPr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5260975" y="2827338"/>
              <a:ext cx="120650" cy="120650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" name="Freeform 259">
              <a:extLst>
                <a:ext uri="{FF2B5EF4-FFF2-40B4-BE49-F238E27FC236}">
                  <a16:creationId xmlns="" xmlns:a16="http://schemas.microsoft.com/office/drawing/2014/main" id="{DD425343-6376-5F41-83DC-C33B830B1A19}"/>
                </a:ext>
              </a:extLst>
            </p:cNvPr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4948238" y="2479675"/>
              <a:ext cx="222250" cy="263525"/>
            </a:xfrm>
            <a:custGeom>
              <a:avLst/>
              <a:gdLst>
                <a:gd name="T0" fmla="*/ 478 w 524"/>
                <a:gd name="T1" fmla="*/ 370 h 505"/>
                <a:gd name="T2" fmla="*/ 484 w 524"/>
                <a:gd name="T3" fmla="*/ 346 h 505"/>
                <a:gd name="T4" fmla="*/ 483 w 524"/>
                <a:gd name="T5" fmla="*/ 329 h 505"/>
                <a:gd name="T6" fmla="*/ 478 w 524"/>
                <a:gd name="T7" fmla="*/ 302 h 505"/>
                <a:gd name="T8" fmla="*/ 455 w 524"/>
                <a:gd name="T9" fmla="*/ 299 h 505"/>
                <a:gd name="T10" fmla="*/ 431 w 524"/>
                <a:gd name="T11" fmla="*/ 288 h 505"/>
                <a:gd name="T12" fmla="*/ 407 w 524"/>
                <a:gd name="T13" fmla="*/ 274 h 505"/>
                <a:gd name="T14" fmla="*/ 386 w 524"/>
                <a:gd name="T15" fmla="*/ 256 h 505"/>
                <a:gd name="T16" fmla="*/ 366 w 524"/>
                <a:gd name="T17" fmla="*/ 237 h 505"/>
                <a:gd name="T18" fmla="*/ 352 w 524"/>
                <a:gd name="T19" fmla="*/ 216 h 505"/>
                <a:gd name="T20" fmla="*/ 342 w 524"/>
                <a:gd name="T21" fmla="*/ 196 h 505"/>
                <a:gd name="T22" fmla="*/ 339 w 524"/>
                <a:gd name="T23" fmla="*/ 178 h 505"/>
                <a:gd name="T24" fmla="*/ 341 w 524"/>
                <a:gd name="T25" fmla="*/ 162 h 505"/>
                <a:gd name="T26" fmla="*/ 349 w 524"/>
                <a:gd name="T27" fmla="*/ 150 h 505"/>
                <a:gd name="T28" fmla="*/ 365 w 524"/>
                <a:gd name="T29" fmla="*/ 136 h 505"/>
                <a:gd name="T30" fmla="*/ 354 w 524"/>
                <a:gd name="T31" fmla="*/ 130 h 505"/>
                <a:gd name="T32" fmla="*/ 341 w 524"/>
                <a:gd name="T33" fmla="*/ 119 h 505"/>
                <a:gd name="T34" fmla="*/ 315 w 524"/>
                <a:gd name="T35" fmla="*/ 87 h 505"/>
                <a:gd name="T36" fmla="*/ 292 w 524"/>
                <a:gd name="T37" fmla="*/ 51 h 505"/>
                <a:gd name="T38" fmla="*/ 279 w 524"/>
                <a:gd name="T39" fmla="*/ 25 h 505"/>
                <a:gd name="T40" fmla="*/ 260 w 524"/>
                <a:gd name="T41" fmla="*/ 24 h 505"/>
                <a:gd name="T42" fmla="*/ 239 w 524"/>
                <a:gd name="T43" fmla="*/ 19 h 505"/>
                <a:gd name="T44" fmla="*/ 219 w 524"/>
                <a:gd name="T45" fmla="*/ 11 h 505"/>
                <a:gd name="T46" fmla="*/ 197 w 524"/>
                <a:gd name="T47" fmla="*/ 6 h 505"/>
                <a:gd name="T48" fmla="*/ 170 w 524"/>
                <a:gd name="T49" fmla="*/ 3 h 505"/>
                <a:gd name="T50" fmla="*/ 149 w 524"/>
                <a:gd name="T51" fmla="*/ 8 h 505"/>
                <a:gd name="T52" fmla="*/ 114 w 524"/>
                <a:gd name="T53" fmla="*/ 41 h 505"/>
                <a:gd name="T54" fmla="*/ 98 w 524"/>
                <a:gd name="T55" fmla="*/ 57 h 505"/>
                <a:gd name="T56" fmla="*/ 93 w 524"/>
                <a:gd name="T57" fmla="*/ 64 h 505"/>
                <a:gd name="T58" fmla="*/ 94 w 524"/>
                <a:gd name="T59" fmla="*/ 94 h 505"/>
                <a:gd name="T60" fmla="*/ 95 w 524"/>
                <a:gd name="T61" fmla="*/ 140 h 505"/>
                <a:gd name="T62" fmla="*/ 94 w 524"/>
                <a:gd name="T63" fmla="*/ 164 h 505"/>
                <a:gd name="T64" fmla="*/ 86 w 524"/>
                <a:gd name="T65" fmla="*/ 180 h 505"/>
                <a:gd name="T66" fmla="*/ 67 w 524"/>
                <a:gd name="T67" fmla="*/ 197 h 505"/>
                <a:gd name="T68" fmla="*/ 40 w 524"/>
                <a:gd name="T69" fmla="*/ 214 h 505"/>
                <a:gd name="T70" fmla="*/ 13 w 524"/>
                <a:gd name="T71" fmla="*/ 228 h 505"/>
                <a:gd name="T72" fmla="*/ 2 w 524"/>
                <a:gd name="T73" fmla="*/ 246 h 505"/>
                <a:gd name="T74" fmla="*/ 2 w 524"/>
                <a:gd name="T75" fmla="*/ 264 h 505"/>
                <a:gd name="T76" fmla="*/ 0 w 524"/>
                <a:gd name="T77" fmla="*/ 278 h 505"/>
                <a:gd name="T78" fmla="*/ 0 w 524"/>
                <a:gd name="T79" fmla="*/ 289 h 505"/>
                <a:gd name="T80" fmla="*/ 7 w 524"/>
                <a:gd name="T81" fmla="*/ 301 h 505"/>
                <a:gd name="T82" fmla="*/ 26 w 524"/>
                <a:gd name="T83" fmla="*/ 314 h 505"/>
                <a:gd name="T84" fmla="*/ 62 w 524"/>
                <a:gd name="T85" fmla="*/ 331 h 505"/>
                <a:gd name="T86" fmla="*/ 120 w 524"/>
                <a:gd name="T87" fmla="*/ 355 h 505"/>
                <a:gd name="T88" fmla="*/ 180 w 524"/>
                <a:gd name="T89" fmla="*/ 374 h 505"/>
                <a:gd name="T90" fmla="*/ 214 w 524"/>
                <a:gd name="T91" fmla="*/ 385 h 505"/>
                <a:gd name="T92" fmla="*/ 237 w 524"/>
                <a:gd name="T93" fmla="*/ 400 h 505"/>
                <a:gd name="T94" fmla="*/ 252 w 524"/>
                <a:gd name="T95" fmla="*/ 418 h 505"/>
                <a:gd name="T96" fmla="*/ 262 w 524"/>
                <a:gd name="T97" fmla="*/ 435 h 505"/>
                <a:gd name="T98" fmla="*/ 266 w 524"/>
                <a:gd name="T99" fmla="*/ 451 h 505"/>
                <a:gd name="T100" fmla="*/ 270 w 524"/>
                <a:gd name="T101" fmla="*/ 469 h 505"/>
                <a:gd name="T102" fmla="*/ 277 w 524"/>
                <a:gd name="T103" fmla="*/ 481 h 505"/>
                <a:gd name="T104" fmla="*/ 287 w 524"/>
                <a:gd name="T105" fmla="*/ 489 h 505"/>
                <a:gd name="T106" fmla="*/ 307 w 524"/>
                <a:gd name="T107" fmla="*/ 497 h 505"/>
                <a:gd name="T108" fmla="*/ 328 w 524"/>
                <a:gd name="T109" fmla="*/ 503 h 505"/>
                <a:gd name="T110" fmla="*/ 335 w 524"/>
                <a:gd name="T111" fmla="*/ 500 h 505"/>
                <a:gd name="T112" fmla="*/ 346 w 524"/>
                <a:gd name="T113" fmla="*/ 499 h 505"/>
                <a:gd name="T114" fmla="*/ 366 w 524"/>
                <a:gd name="T115" fmla="*/ 503 h 505"/>
                <a:gd name="T116" fmla="*/ 383 w 524"/>
                <a:gd name="T117" fmla="*/ 505 h 505"/>
                <a:gd name="T118" fmla="*/ 437 w 524"/>
                <a:gd name="T119" fmla="*/ 505 h 505"/>
                <a:gd name="T120" fmla="*/ 465 w 524"/>
                <a:gd name="T121" fmla="*/ 449 h 505"/>
                <a:gd name="T122" fmla="*/ 492 w 524"/>
                <a:gd name="T123" fmla="*/ 43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" name="Freeform 260">
              <a:extLst>
                <a:ext uri="{FF2B5EF4-FFF2-40B4-BE49-F238E27FC236}">
                  <a16:creationId xmlns="" xmlns:a16="http://schemas.microsoft.com/office/drawing/2014/main" id="{3E64554C-7B9B-9041-B95A-4D386B020121}"/>
                </a:ext>
              </a:extLst>
            </p:cNvPr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5448300" y="2439988"/>
              <a:ext cx="331788" cy="290512"/>
            </a:xfrm>
            <a:custGeom>
              <a:avLst/>
              <a:gdLst>
                <a:gd name="T0" fmla="*/ 62 w 764"/>
                <a:gd name="T1" fmla="*/ 196 h 555"/>
                <a:gd name="T2" fmla="*/ 93 w 764"/>
                <a:gd name="T3" fmla="*/ 190 h 555"/>
                <a:gd name="T4" fmla="*/ 128 w 764"/>
                <a:gd name="T5" fmla="*/ 182 h 555"/>
                <a:gd name="T6" fmla="*/ 175 w 764"/>
                <a:gd name="T7" fmla="*/ 151 h 555"/>
                <a:gd name="T8" fmla="*/ 194 w 764"/>
                <a:gd name="T9" fmla="*/ 126 h 555"/>
                <a:gd name="T10" fmla="*/ 199 w 764"/>
                <a:gd name="T11" fmla="*/ 88 h 555"/>
                <a:gd name="T12" fmla="*/ 208 w 764"/>
                <a:gd name="T13" fmla="*/ 69 h 555"/>
                <a:gd name="T14" fmla="*/ 240 w 764"/>
                <a:gd name="T15" fmla="*/ 60 h 555"/>
                <a:gd name="T16" fmla="*/ 294 w 764"/>
                <a:gd name="T17" fmla="*/ 62 h 555"/>
                <a:gd name="T18" fmla="*/ 329 w 764"/>
                <a:gd name="T19" fmla="*/ 71 h 555"/>
                <a:gd name="T20" fmla="*/ 362 w 764"/>
                <a:gd name="T21" fmla="*/ 90 h 555"/>
                <a:gd name="T22" fmla="*/ 386 w 764"/>
                <a:gd name="T23" fmla="*/ 93 h 555"/>
                <a:gd name="T24" fmla="*/ 419 w 764"/>
                <a:gd name="T25" fmla="*/ 84 h 555"/>
                <a:gd name="T26" fmla="*/ 460 w 764"/>
                <a:gd name="T27" fmla="*/ 61 h 555"/>
                <a:gd name="T28" fmla="*/ 479 w 764"/>
                <a:gd name="T29" fmla="*/ 33 h 555"/>
                <a:gd name="T30" fmla="*/ 508 w 764"/>
                <a:gd name="T31" fmla="*/ 4 h 555"/>
                <a:gd name="T32" fmla="*/ 530 w 764"/>
                <a:gd name="T33" fmla="*/ 19 h 555"/>
                <a:gd name="T34" fmla="*/ 550 w 764"/>
                <a:gd name="T35" fmla="*/ 45 h 555"/>
                <a:gd name="T36" fmla="*/ 561 w 764"/>
                <a:gd name="T37" fmla="*/ 87 h 555"/>
                <a:gd name="T38" fmla="*/ 570 w 764"/>
                <a:gd name="T39" fmla="*/ 101 h 555"/>
                <a:gd name="T40" fmla="*/ 589 w 764"/>
                <a:gd name="T41" fmla="*/ 104 h 555"/>
                <a:gd name="T42" fmla="*/ 622 w 764"/>
                <a:gd name="T43" fmla="*/ 73 h 555"/>
                <a:gd name="T44" fmla="*/ 743 w 764"/>
                <a:gd name="T45" fmla="*/ 66 h 555"/>
                <a:gd name="T46" fmla="*/ 759 w 764"/>
                <a:gd name="T47" fmla="*/ 87 h 555"/>
                <a:gd name="T48" fmla="*/ 679 w 764"/>
                <a:gd name="T49" fmla="*/ 100 h 555"/>
                <a:gd name="T50" fmla="*/ 605 w 764"/>
                <a:gd name="T51" fmla="*/ 112 h 555"/>
                <a:gd name="T52" fmla="*/ 574 w 764"/>
                <a:gd name="T53" fmla="*/ 130 h 555"/>
                <a:gd name="T54" fmla="*/ 571 w 764"/>
                <a:gd name="T55" fmla="*/ 147 h 555"/>
                <a:gd name="T56" fmla="*/ 582 w 764"/>
                <a:gd name="T57" fmla="*/ 164 h 555"/>
                <a:gd name="T58" fmla="*/ 601 w 764"/>
                <a:gd name="T59" fmla="*/ 180 h 555"/>
                <a:gd name="T60" fmla="*/ 604 w 764"/>
                <a:gd name="T61" fmla="*/ 195 h 555"/>
                <a:gd name="T62" fmla="*/ 594 w 764"/>
                <a:gd name="T63" fmla="*/ 213 h 555"/>
                <a:gd name="T64" fmla="*/ 574 w 764"/>
                <a:gd name="T65" fmla="*/ 237 h 555"/>
                <a:gd name="T66" fmla="*/ 565 w 764"/>
                <a:gd name="T67" fmla="*/ 255 h 555"/>
                <a:gd name="T68" fmla="*/ 542 w 764"/>
                <a:gd name="T69" fmla="*/ 269 h 555"/>
                <a:gd name="T70" fmla="*/ 519 w 764"/>
                <a:gd name="T71" fmla="*/ 310 h 555"/>
                <a:gd name="T72" fmla="*/ 508 w 764"/>
                <a:gd name="T73" fmla="*/ 363 h 555"/>
                <a:gd name="T74" fmla="*/ 497 w 764"/>
                <a:gd name="T75" fmla="*/ 425 h 555"/>
                <a:gd name="T76" fmla="*/ 477 w 764"/>
                <a:gd name="T77" fmla="*/ 412 h 555"/>
                <a:gd name="T78" fmla="*/ 460 w 764"/>
                <a:gd name="T79" fmla="*/ 407 h 555"/>
                <a:gd name="T80" fmla="*/ 439 w 764"/>
                <a:gd name="T81" fmla="*/ 418 h 555"/>
                <a:gd name="T82" fmla="*/ 411 w 764"/>
                <a:gd name="T83" fmla="*/ 440 h 555"/>
                <a:gd name="T84" fmla="*/ 393 w 764"/>
                <a:gd name="T85" fmla="*/ 444 h 555"/>
                <a:gd name="T86" fmla="*/ 375 w 764"/>
                <a:gd name="T87" fmla="*/ 463 h 555"/>
                <a:gd name="T88" fmla="*/ 365 w 764"/>
                <a:gd name="T89" fmla="*/ 511 h 555"/>
                <a:gd name="T90" fmla="*/ 350 w 764"/>
                <a:gd name="T91" fmla="*/ 525 h 555"/>
                <a:gd name="T92" fmla="*/ 270 w 764"/>
                <a:gd name="T93" fmla="*/ 546 h 555"/>
                <a:gd name="T94" fmla="*/ 194 w 764"/>
                <a:gd name="T95" fmla="*/ 554 h 555"/>
                <a:gd name="T96" fmla="*/ 113 w 764"/>
                <a:gd name="T97" fmla="*/ 542 h 555"/>
                <a:gd name="T98" fmla="*/ 95 w 764"/>
                <a:gd name="T99" fmla="*/ 518 h 555"/>
                <a:gd name="T100" fmla="*/ 115 w 764"/>
                <a:gd name="T101" fmla="*/ 488 h 555"/>
                <a:gd name="T102" fmla="*/ 125 w 764"/>
                <a:gd name="T103" fmla="*/ 462 h 555"/>
                <a:gd name="T104" fmla="*/ 123 w 764"/>
                <a:gd name="T105" fmla="*/ 442 h 555"/>
                <a:gd name="T106" fmla="*/ 111 w 764"/>
                <a:gd name="T107" fmla="*/ 433 h 555"/>
                <a:gd name="T108" fmla="*/ 69 w 764"/>
                <a:gd name="T109" fmla="*/ 431 h 555"/>
                <a:gd name="T110" fmla="*/ 52 w 764"/>
                <a:gd name="T111" fmla="*/ 421 h 555"/>
                <a:gd name="T112" fmla="*/ 34 w 764"/>
                <a:gd name="T113" fmla="*/ 384 h 555"/>
                <a:gd name="T114" fmla="*/ 19 w 764"/>
                <a:gd name="T115" fmla="*/ 309 h 555"/>
                <a:gd name="T116" fmla="*/ 10 w 764"/>
                <a:gd name="T117" fmla="*/ 291 h 555"/>
                <a:gd name="T118" fmla="*/ 0 w 764"/>
                <a:gd name="T119" fmla="*/ 280 h 555"/>
                <a:gd name="T120" fmla="*/ 2 w 764"/>
                <a:gd name="T121" fmla="*/ 268 h 555"/>
                <a:gd name="T122" fmla="*/ 22 w 764"/>
                <a:gd name="T123" fmla="*/ 248 h 555"/>
                <a:gd name="T124" fmla="*/ 34 w 764"/>
                <a:gd name="T125" fmla="*/ 221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261">
              <a:extLst>
                <a:ext uri="{FF2B5EF4-FFF2-40B4-BE49-F238E27FC236}">
                  <a16:creationId xmlns="" xmlns:a16="http://schemas.microsoft.com/office/drawing/2014/main" id="{62D70626-4379-0F45-95CD-34BCE3D66B90}"/>
                </a:ext>
              </a:extLst>
            </p:cNvPr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5480050" y="2489200"/>
              <a:ext cx="365125" cy="423863"/>
            </a:xfrm>
            <a:custGeom>
              <a:avLst/>
              <a:gdLst>
                <a:gd name="T0" fmla="*/ 779 w 831"/>
                <a:gd name="T1" fmla="*/ 82 h 812"/>
                <a:gd name="T2" fmla="*/ 707 w 831"/>
                <a:gd name="T3" fmla="*/ 29 h 812"/>
                <a:gd name="T4" fmla="*/ 562 w 831"/>
                <a:gd name="T5" fmla="*/ 10 h 812"/>
                <a:gd name="T6" fmla="*/ 499 w 831"/>
                <a:gd name="T7" fmla="*/ 29 h 812"/>
                <a:gd name="T8" fmla="*/ 486 w 831"/>
                <a:gd name="T9" fmla="*/ 49 h 812"/>
                <a:gd name="T10" fmla="*/ 497 w 831"/>
                <a:gd name="T11" fmla="*/ 71 h 812"/>
                <a:gd name="T12" fmla="*/ 517 w 831"/>
                <a:gd name="T13" fmla="*/ 90 h 812"/>
                <a:gd name="T14" fmla="*/ 516 w 831"/>
                <a:gd name="T15" fmla="*/ 111 h 812"/>
                <a:gd name="T16" fmla="*/ 491 w 831"/>
                <a:gd name="T17" fmla="*/ 140 h 812"/>
                <a:gd name="T18" fmla="*/ 480 w 831"/>
                <a:gd name="T19" fmla="*/ 162 h 812"/>
                <a:gd name="T20" fmla="*/ 450 w 831"/>
                <a:gd name="T21" fmla="*/ 184 h 812"/>
                <a:gd name="T22" fmla="*/ 427 w 831"/>
                <a:gd name="T23" fmla="*/ 243 h 812"/>
                <a:gd name="T24" fmla="*/ 420 w 831"/>
                <a:gd name="T25" fmla="*/ 332 h 812"/>
                <a:gd name="T26" fmla="*/ 392 w 831"/>
                <a:gd name="T27" fmla="*/ 319 h 812"/>
                <a:gd name="T28" fmla="*/ 370 w 831"/>
                <a:gd name="T29" fmla="*/ 315 h 812"/>
                <a:gd name="T30" fmla="*/ 338 w 831"/>
                <a:gd name="T31" fmla="*/ 339 h 812"/>
                <a:gd name="T32" fmla="*/ 313 w 831"/>
                <a:gd name="T33" fmla="*/ 351 h 812"/>
                <a:gd name="T34" fmla="*/ 290 w 831"/>
                <a:gd name="T35" fmla="*/ 370 h 812"/>
                <a:gd name="T36" fmla="*/ 280 w 831"/>
                <a:gd name="T37" fmla="*/ 424 h 812"/>
                <a:gd name="T38" fmla="*/ 235 w 831"/>
                <a:gd name="T39" fmla="*/ 442 h 812"/>
                <a:gd name="T40" fmla="*/ 127 w 831"/>
                <a:gd name="T41" fmla="*/ 462 h 812"/>
                <a:gd name="T42" fmla="*/ 26 w 831"/>
                <a:gd name="T43" fmla="*/ 449 h 812"/>
                <a:gd name="T44" fmla="*/ 51 w 831"/>
                <a:gd name="T45" fmla="*/ 505 h 812"/>
                <a:gd name="T46" fmla="*/ 96 w 831"/>
                <a:gd name="T47" fmla="*/ 540 h 812"/>
                <a:gd name="T48" fmla="*/ 123 w 831"/>
                <a:gd name="T49" fmla="*/ 577 h 812"/>
                <a:gd name="T50" fmla="*/ 142 w 831"/>
                <a:gd name="T51" fmla="*/ 596 h 812"/>
                <a:gd name="T52" fmla="*/ 99 w 831"/>
                <a:gd name="T53" fmla="*/ 647 h 812"/>
                <a:gd name="T54" fmla="*/ 87 w 831"/>
                <a:gd name="T55" fmla="*/ 671 h 812"/>
                <a:gd name="T56" fmla="*/ 109 w 831"/>
                <a:gd name="T57" fmla="*/ 720 h 812"/>
                <a:gd name="T58" fmla="*/ 222 w 831"/>
                <a:gd name="T59" fmla="*/ 710 h 812"/>
                <a:gd name="T60" fmla="*/ 302 w 831"/>
                <a:gd name="T61" fmla="*/ 705 h 812"/>
                <a:gd name="T62" fmla="*/ 330 w 831"/>
                <a:gd name="T63" fmla="*/ 721 h 812"/>
                <a:gd name="T64" fmla="*/ 359 w 831"/>
                <a:gd name="T65" fmla="*/ 756 h 812"/>
                <a:gd name="T66" fmla="*/ 408 w 831"/>
                <a:gd name="T67" fmla="*/ 785 h 812"/>
                <a:gd name="T68" fmla="*/ 449 w 831"/>
                <a:gd name="T69" fmla="*/ 803 h 812"/>
                <a:gd name="T70" fmla="*/ 460 w 831"/>
                <a:gd name="T71" fmla="*/ 791 h 812"/>
                <a:gd name="T72" fmla="*/ 487 w 831"/>
                <a:gd name="T73" fmla="*/ 774 h 812"/>
                <a:gd name="T74" fmla="*/ 554 w 831"/>
                <a:gd name="T75" fmla="*/ 764 h 812"/>
                <a:gd name="T76" fmla="*/ 597 w 831"/>
                <a:gd name="T77" fmla="*/ 750 h 812"/>
                <a:gd name="T78" fmla="*/ 618 w 831"/>
                <a:gd name="T79" fmla="*/ 727 h 812"/>
                <a:gd name="T80" fmla="*/ 584 w 831"/>
                <a:gd name="T81" fmla="*/ 700 h 812"/>
                <a:gd name="T82" fmla="*/ 542 w 831"/>
                <a:gd name="T83" fmla="*/ 641 h 812"/>
                <a:gd name="T84" fmla="*/ 526 w 831"/>
                <a:gd name="T85" fmla="*/ 624 h 812"/>
                <a:gd name="T86" fmla="*/ 526 w 831"/>
                <a:gd name="T87" fmla="*/ 578 h 812"/>
                <a:gd name="T88" fmla="*/ 582 w 831"/>
                <a:gd name="T89" fmla="*/ 563 h 812"/>
                <a:gd name="T90" fmla="*/ 622 w 831"/>
                <a:gd name="T91" fmla="*/ 531 h 812"/>
                <a:gd name="T92" fmla="*/ 688 w 831"/>
                <a:gd name="T93" fmla="*/ 417 h 812"/>
                <a:gd name="T94" fmla="*/ 730 w 831"/>
                <a:gd name="T95" fmla="*/ 368 h 812"/>
                <a:gd name="T96" fmla="*/ 725 w 831"/>
                <a:gd name="T97" fmla="*/ 330 h 812"/>
                <a:gd name="T98" fmla="*/ 729 w 831"/>
                <a:gd name="T99" fmla="*/ 305 h 812"/>
                <a:gd name="T100" fmla="*/ 751 w 831"/>
                <a:gd name="T101" fmla="*/ 289 h 812"/>
                <a:gd name="T102" fmla="*/ 670 w 831"/>
                <a:gd name="T103" fmla="*/ 207 h 812"/>
                <a:gd name="T104" fmla="*/ 758 w 831"/>
                <a:gd name="T105" fmla="*/ 140 h 812"/>
                <a:gd name="T106" fmla="*/ 805 w 831"/>
                <a:gd name="T107" fmla="*/ 123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262">
              <a:extLst>
                <a:ext uri="{FF2B5EF4-FFF2-40B4-BE49-F238E27FC236}">
                  <a16:creationId xmlns="" xmlns:a16="http://schemas.microsoft.com/office/drawing/2014/main" id="{4D39FC57-8A8C-654F-9F47-E20FD2AB3AF3}"/>
                </a:ext>
              </a:extLst>
            </p:cNvPr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6270625" y="2757488"/>
              <a:ext cx="220663" cy="585787"/>
            </a:xfrm>
            <a:custGeom>
              <a:avLst/>
              <a:gdLst>
                <a:gd name="T0" fmla="*/ 438 w 505"/>
                <a:gd name="T1" fmla="*/ 1067 h 1121"/>
                <a:gd name="T2" fmla="*/ 443 w 505"/>
                <a:gd name="T3" fmla="*/ 1028 h 1121"/>
                <a:gd name="T4" fmla="*/ 399 w 505"/>
                <a:gd name="T5" fmla="*/ 1022 h 1121"/>
                <a:gd name="T6" fmla="*/ 405 w 505"/>
                <a:gd name="T7" fmla="*/ 957 h 1121"/>
                <a:gd name="T8" fmla="*/ 419 w 505"/>
                <a:gd name="T9" fmla="*/ 931 h 1121"/>
                <a:gd name="T10" fmla="*/ 413 w 505"/>
                <a:gd name="T11" fmla="*/ 899 h 1121"/>
                <a:gd name="T12" fmla="*/ 398 w 505"/>
                <a:gd name="T13" fmla="*/ 893 h 1121"/>
                <a:gd name="T14" fmla="*/ 382 w 505"/>
                <a:gd name="T15" fmla="*/ 838 h 1121"/>
                <a:gd name="T16" fmla="*/ 324 w 505"/>
                <a:gd name="T17" fmla="*/ 719 h 1121"/>
                <a:gd name="T18" fmla="*/ 296 w 505"/>
                <a:gd name="T19" fmla="*/ 703 h 1121"/>
                <a:gd name="T20" fmla="*/ 282 w 505"/>
                <a:gd name="T21" fmla="*/ 718 h 1121"/>
                <a:gd name="T22" fmla="*/ 226 w 505"/>
                <a:gd name="T23" fmla="*/ 742 h 1121"/>
                <a:gd name="T24" fmla="*/ 169 w 505"/>
                <a:gd name="T25" fmla="*/ 736 h 1121"/>
                <a:gd name="T26" fmla="*/ 133 w 505"/>
                <a:gd name="T27" fmla="*/ 567 h 1121"/>
                <a:gd name="T28" fmla="*/ 101 w 505"/>
                <a:gd name="T29" fmla="*/ 520 h 1121"/>
                <a:gd name="T30" fmla="*/ 51 w 505"/>
                <a:gd name="T31" fmla="*/ 502 h 1121"/>
                <a:gd name="T32" fmla="*/ 8 w 505"/>
                <a:gd name="T33" fmla="*/ 471 h 1121"/>
                <a:gd name="T34" fmla="*/ 23 w 505"/>
                <a:gd name="T35" fmla="*/ 445 h 1121"/>
                <a:gd name="T36" fmla="*/ 58 w 505"/>
                <a:gd name="T37" fmla="*/ 361 h 1121"/>
                <a:gd name="T38" fmla="*/ 67 w 505"/>
                <a:gd name="T39" fmla="*/ 277 h 1121"/>
                <a:gd name="T40" fmla="*/ 80 w 505"/>
                <a:gd name="T41" fmla="*/ 265 h 1121"/>
                <a:gd name="T42" fmla="*/ 113 w 505"/>
                <a:gd name="T43" fmla="*/ 258 h 1121"/>
                <a:gd name="T44" fmla="*/ 134 w 505"/>
                <a:gd name="T45" fmla="*/ 222 h 1121"/>
                <a:gd name="T46" fmla="*/ 140 w 505"/>
                <a:gd name="T47" fmla="*/ 117 h 1121"/>
                <a:gd name="T48" fmla="*/ 159 w 505"/>
                <a:gd name="T49" fmla="*/ 98 h 1121"/>
                <a:gd name="T50" fmla="*/ 213 w 505"/>
                <a:gd name="T51" fmla="*/ 74 h 1121"/>
                <a:gd name="T52" fmla="*/ 234 w 505"/>
                <a:gd name="T53" fmla="*/ 21 h 1121"/>
                <a:gd name="T54" fmla="*/ 277 w 505"/>
                <a:gd name="T55" fmla="*/ 31 h 1121"/>
                <a:gd name="T56" fmla="*/ 312 w 505"/>
                <a:gd name="T57" fmla="*/ 49 h 1121"/>
                <a:gd name="T58" fmla="*/ 337 w 505"/>
                <a:gd name="T59" fmla="*/ 122 h 1121"/>
                <a:gd name="T60" fmla="*/ 335 w 505"/>
                <a:gd name="T61" fmla="*/ 167 h 1121"/>
                <a:gd name="T62" fmla="*/ 300 w 505"/>
                <a:gd name="T63" fmla="*/ 216 h 1121"/>
                <a:gd name="T64" fmla="*/ 293 w 505"/>
                <a:gd name="T65" fmla="*/ 245 h 1121"/>
                <a:gd name="T66" fmla="*/ 309 w 505"/>
                <a:gd name="T67" fmla="*/ 261 h 1121"/>
                <a:gd name="T68" fmla="*/ 346 w 505"/>
                <a:gd name="T69" fmla="*/ 270 h 1121"/>
                <a:gd name="T70" fmla="*/ 371 w 505"/>
                <a:gd name="T71" fmla="*/ 291 h 1121"/>
                <a:gd name="T72" fmla="*/ 398 w 505"/>
                <a:gd name="T73" fmla="*/ 345 h 1121"/>
                <a:gd name="T74" fmla="*/ 430 w 505"/>
                <a:gd name="T75" fmla="*/ 400 h 1121"/>
                <a:gd name="T76" fmla="*/ 464 w 505"/>
                <a:gd name="T77" fmla="*/ 418 h 1121"/>
                <a:gd name="T78" fmla="*/ 505 w 505"/>
                <a:gd name="T79" fmla="*/ 418 h 1121"/>
                <a:gd name="T80" fmla="*/ 476 w 505"/>
                <a:gd name="T81" fmla="*/ 494 h 1121"/>
                <a:gd name="T82" fmla="*/ 427 w 505"/>
                <a:gd name="T83" fmla="*/ 510 h 1121"/>
                <a:gd name="T84" fmla="*/ 383 w 505"/>
                <a:gd name="T85" fmla="*/ 528 h 1121"/>
                <a:gd name="T86" fmla="*/ 360 w 505"/>
                <a:gd name="T87" fmla="*/ 572 h 1121"/>
                <a:gd name="T88" fmla="*/ 370 w 505"/>
                <a:gd name="T89" fmla="*/ 637 h 1121"/>
                <a:gd name="T90" fmla="*/ 402 w 505"/>
                <a:gd name="T91" fmla="*/ 683 h 1121"/>
                <a:gd name="T92" fmla="*/ 430 w 505"/>
                <a:gd name="T93" fmla="*/ 735 h 1121"/>
                <a:gd name="T94" fmla="*/ 428 w 505"/>
                <a:gd name="T95" fmla="*/ 776 h 1121"/>
                <a:gd name="T96" fmla="*/ 419 w 505"/>
                <a:gd name="T97" fmla="*/ 801 h 1121"/>
                <a:gd name="T98" fmla="*/ 435 w 505"/>
                <a:gd name="T99" fmla="*/ 851 h 1121"/>
                <a:gd name="T100" fmla="*/ 483 w 505"/>
                <a:gd name="T101" fmla="*/ 965 h 1121"/>
                <a:gd name="T102" fmla="*/ 458 w 505"/>
                <a:gd name="T103" fmla="*/ 1082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263">
              <a:extLst>
                <a:ext uri="{FF2B5EF4-FFF2-40B4-BE49-F238E27FC236}">
                  <a16:creationId xmlns="" xmlns:a16="http://schemas.microsoft.com/office/drawing/2014/main" id="{62EADF5F-31A4-C04A-8897-106D8B3D3812}"/>
                </a:ext>
              </a:extLst>
            </p:cNvPr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594100" y="3267075"/>
              <a:ext cx="80963" cy="58738"/>
            </a:xfrm>
            <a:custGeom>
              <a:avLst/>
              <a:gdLst>
                <a:gd name="T0" fmla="*/ 180 w 180"/>
                <a:gd name="T1" fmla="*/ 7 h 112"/>
                <a:gd name="T2" fmla="*/ 171 w 180"/>
                <a:gd name="T3" fmla="*/ 24 h 112"/>
                <a:gd name="T4" fmla="*/ 163 w 180"/>
                <a:gd name="T5" fmla="*/ 39 h 112"/>
                <a:gd name="T6" fmla="*/ 152 w 180"/>
                <a:gd name="T7" fmla="*/ 53 h 112"/>
                <a:gd name="T8" fmla="*/ 141 w 180"/>
                <a:gd name="T9" fmla="*/ 66 h 112"/>
                <a:gd name="T10" fmla="*/ 129 w 180"/>
                <a:gd name="T11" fmla="*/ 80 h 112"/>
                <a:gd name="T12" fmla="*/ 115 w 180"/>
                <a:gd name="T13" fmla="*/ 92 h 112"/>
                <a:gd name="T14" fmla="*/ 101 w 180"/>
                <a:gd name="T15" fmla="*/ 102 h 112"/>
                <a:gd name="T16" fmla="*/ 87 w 180"/>
                <a:gd name="T17" fmla="*/ 112 h 112"/>
                <a:gd name="T18" fmla="*/ 82 w 180"/>
                <a:gd name="T19" fmla="*/ 107 h 112"/>
                <a:gd name="T20" fmla="*/ 79 w 180"/>
                <a:gd name="T21" fmla="*/ 101 h 112"/>
                <a:gd name="T22" fmla="*/ 76 w 180"/>
                <a:gd name="T23" fmla="*/ 95 h 112"/>
                <a:gd name="T24" fmla="*/ 74 w 180"/>
                <a:gd name="T25" fmla="*/ 88 h 112"/>
                <a:gd name="T26" fmla="*/ 70 w 180"/>
                <a:gd name="T27" fmla="*/ 81 h 112"/>
                <a:gd name="T28" fmla="*/ 68 w 180"/>
                <a:gd name="T29" fmla="*/ 74 h 112"/>
                <a:gd name="T30" fmla="*/ 65 w 180"/>
                <a:gd name="T31" fmla="*/ 69 h 112"/>
                <a:gd name="T32" fmla="*/ 60 w 180"/>
                <a:gd name="T33" fmla="*/ 63 h 112"/>
                <a:gd name="T34" fmla="*/ 45 w 180"/>
                <a:gd name="T35" fmla="*/ 48 h 112"/>
                <a:gd name="T36" fmla="*/ 36 w 180"/>
                <a:gd name="T37" fmla="*/ 38 h 112"/>
                <a:gd name="T38" fmla="*/ 30 w 180"/>
                <a:gd name="T39" fmla="*/ 33 h 112"/>
                <a:gd name="T40" fmla="*/ 25 w 180"/>
                <a:gd name="T41" fmla="*/ 31 h 112"/>
                <a:gd name="T42" fmla="*/ 18 w 180"/>
                <a:gd name="T43" fmla="*/ 30 h 112"/>
                <a:gd name="T44" fmla="*/ 0 w 180"/>
                <a:gd name="T45" fmla="*/ 26 h 112"/>
                <a:gd name="T46" fmla="*/ 26 w 180"/>
                <a:gd name="T47" fmla="*/ 14 h 112"/>
                <a:gd name="T48" fmla="*/ 41 w 180"/>
                <a:gd name="T49" fmla="*/ 9 h 112"/>
                <a:gd name="T50" fmla="*/ 56 w 180"/>
                <a:gd name="T51" fmla="*/ 5 h 112"/>
                <a:gd name="T52" fmla="*/ 74 w 180"/>
                <a:gd name="T53" fmla="*/ 3 h 112"/>
                <a:gd name="T54" fmla="*/ 93 w 180"/>
                <a:gd name="T55" fmla="*/ 1 h 112"/>
                <a:gd name="T56" fmla="*/ 114 w 180"/>
                <a:gd name="T57" fmla="*/ 0 h 112"/>
                <a:gd name="T58" fmla="*/ 135 w 180"/>
                <a:gd name="T59" fmla="*/ 1 h 112"/>
                <a:gd name="T60" fmla="*/ 157 w 180"/>
                <a:gd name="T61" fmla="*/ 3 h 112"/>
                <a:gd name="T62" fmla="*/ 180 w 180"/>
                <a:gd name="T63" fmla="*/ 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" name="Freeform 264">
              <a:extLst>
                <a:ext uri="{FF2B5EF4-FFF2-40B4-BE49-F238E27FC236}">
                  <a16:creationId xmlns="" xmlns:a16="http://schemas.microsoft.com/office/drawing/2014/main" id="{C938B10B-8EB4-024C-B38C-B633351E0D5A}"/>
                </a:ext>
              </a:extLst>
            </p:cNvPr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678238" y="3349625"/>
              <a:ext cx="74612" cy="100013"/>
            </a:xfrm>
            <a:custGeom>
              <a:avLst/>
              <a:gdLst>
                <a:gd name="T0" fmla="*/ 0 w 173"/>
                <a:gd name="T1" fmla="*/ 68 h 192"/>
                <a:gd name="T2" fmla="*/ 27 w 173"/>
                <a:gd name="T3" fmla="*/ 42 h 192"/>
                <a:gd name="T4" fmla="*/ 51 w 173"/>
                <a:gd name="T5" fmla="*/ 21 h 192"/>
                <a:gd name="T6" fmla="*/ 56 w 173"/>
                <a:gd name="T7" fmla="*/ 16 h 192"/>
                <a:gd name="T8" fmla="*/ 63 w 173"/>
                <a:gd name="T9" fmla="*/ 12 h 192"/>
                <a:gd name="T10" fmla="*/ 70 w 173"/>
                <a:gd name="T11" fmla="*/ 8 h 192"/>
                <a:gd name="T12" fmla="*/ 76 w 173"/>
                <a:gd name="T13" fmla="*/ 6 h 192"/>
                <a:gd name="T14" fmla="*/ 83 w 173"/>
                <a:gd name="T15" fmla="*/ 3 h 192"/>
                <a:gd name="T16" fmla="*/ 90 w 173"/>
                <a:gd name="T17" fmla="*/ 2 h 192"/>
                <a:gd name="T18" fmla="*/ 98 w 173"/>
                <a:gd name="T19" fmla="*/ 1 h 192"/>
                <a:gd name="T20" fmla="*/ 107 w 173"/>
                <a:gd name="T21" fmla="*/ 0 h 192"/>
                <a:gd name="T22" fmla="*/ 116 w 173"/>
                <a:gd name="T23" fmla="*/ 1 h 192"/>
                <a:gd name="T24" fmla="*/ 124 w 173"/>
                <a:gd name="T25" fmla="*/ 2 h 192"/>
                <a:gd name="T26" fmla="*/ 132 w 173"/>
                <a:gd name="T27" fmla="*/ 5 h 192"/>
                <a:gd name="T28" fmla="*/ 139 w 173"/>
                <a:gd name="T29" fmla="*/ 8 h 192"/>
                <a:gd name="T30" fmla="*/ 145 w 173"/>
                <a:gd name="T31" fmla="*/ 13 h 192"/>
                <a:gd name="T32" fmla="*/ 151 w 173"/>
                <a:gd name="T33" fmla="*/ 19 h 192"/>
                <a:gd name="T34" fmla="*/ 155 w 173"/>
                <a:gd name="T35" fmla="*/ 24 h 192"/>
                <a:gd name="T36" fmla="*/ 160 w 173"/>
                <a:gd name="T37" fmla="*/ 30 h 192"/>
                <a:gd name="T38" fmla="*/ 163 w 173"/>
                <a:gd name="T39" fmla="*/ 37 h 192"/>
                <a:gd name="T40" fmla="*/ 166 w 173"/>
                <a:gd name="T41" fmla="*/ 43 h 192"/>
                <a:gd name="T42" fmla="*/ 168 w 173"/>
                <a:gd name="T43" fmla="*/ 50 h 192"/>
                <a:gd name="T44" fmla="*/ 169 w 173"/>
                <a:gd name="T45" fmla="*/ 57 h 192"/>
                <a:gd name="T46" fmla="*/ 172 w 173"/>
                <a:gd name="T47" fmla="*/ 72 h 192"/>
                <a:gd name="T48" fmla="*/ 173 w 173"/>
                <a:gd name="T49" fmla="*/ 87 h 192"/>
                <a:gd name="T50" fmla="*/ 157 w 173"/>
                <a:gd name="T51" fmla="*/ 114 h 192"/>
                <a:gd name="T52" fmla="*/ 146 w 173"/>
                <a:gd name="T53" fmla="*/ 137 h 192"/>
                <a:gd name="T54" fmla="*/ 139 w 173"/>
                <a:gd name="T55" fmla="*/ 148 h 192"/>
                <a:gd name="T56" fmla="*/ 130 w 173"/>
                <a:gd name="T57" fmla="*/ 160 h 192"/>
                <a:gd name="T58" fmla="*/ 117 w 173"/>
                <a:gd name="T59" fmla="*/ 174 h 192"/>
                <a:gd name="T60" fmla="*/ 99 w 173"/>
                <a:gd name="T61" fmla="*/ 192 h 192"/>
                <a:gd name="T62" fmla="*/ 86 w 173"/>
                <a:gd name="T63" fmla="*/ 183 h 192"/>
                <a:gd name="T64" fmla="*/ 74 w 173"/>
                <a:gd name="T65" fmla="*/ 176 h 192"/>
                <a:gd name="T66" fmla="*/ 63 w 173"/>
                <a:gd name="T67" fmla="*/ 169 h 192"/>
                <a:gd name="T68" fmla="*/ 54 w 173"/>
                <a:gd name="T69" fmla="*/ 163 h 192"/>
                <a:gd name="T70" fmla="*/ 46 w 173"/>
                <a:gd name="T71" fmla="*/ 156 h 192"/>
                <a:gd name="T72" fmla="*/ 40 w 173"/>
                <a:gd name="T73" fmla="*/ 150 h 192"/>
                <a:gd name="T74" fmla="*/ 34 w 173"/>
                <a:gd name="T75" fmla="*/ 144 h 192"/>
                <a:gd name="T76" fmla="*/ 30 w 173"/>
                <a:gd name="T77" fmla="*/ 137 h 192"/>
                <a:gd name="T78" fmla="*/ 22 w 173"/>
                <a:gd name="T79" fmla="*/ 123 h 192"/>
                <a:gd name="T80" fmla="*/ 16 w 173"/>
                <a:gd name="T81" fmla="*/ 107 h 192"/>
                <a:gd name="T82" fmla="*/ 9 w 173"/>
                <a:gd name="T83" fmla="*/ 90 h 192"/>
                <a:gd name="T84" fmla="*/ 0 w 173"/>
                <a:gd name="T85" fmla="*/ 68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" name="Freeform 265">
              <a:extLst>
                <a:ext uri="{FF2B5EF4-FFF2-40B4-BE49-F238E27FC236}">
                  <a16:creationId xmlns="" xmlns:a16="http://schemas.microsoft.com/office/drawing/2014/main" id="{99CFFACA-252A-AB41-B5E0-F0FBA759E97B}"/>
                </a:ext>
              </a:extLst>
            </p:cNvPr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1100" y="3400425"/>
              <a:ext cx="104775" cy="131763"/>
            </a:xfrm>
            <a:custGeom>
              <a:avLst/>
              <a:gdLst>
                <a:gd name="T0" fmla="*/ 74 w 233"/>
                <a:gd name="T1" fmla="*/ 0 h 252"/>
                <a:gd name="T2" fmla="*/ 83 w 233"/>
                <a:gd name="T3" fmla="*/ 2 h 252"/>
                <a:gd name="T4" fmla="*/ 89 w 233"/>
                <a:gd name="T5" fmla="*/ 3 h 252"/>
                <a:gd name="T6" fmla="*/ 95 w 233"/>
                <a:gd name="T7" fmla="*/ 3 h 252"/>
                <a:gd name="T8" fmla="*/ 99 w 233"/>
                <a:gd name="T9" fmla="*/ 2 h 252"/>
                <a:gd name="T10" fmla="*/ 106 w 233"/>
                <a:gd name="T11" fmla="*/ 1 h 252"/>
                <a:gd name="T12" fmla="*/ 113 w 233"/>
                <a:gd name="T13" fmla="*/ 0 h 252"/>
                <a:gd name="T14" fmla="*/ 125 w 233"/>
                <a:gd name="T15" fmla="*/ 17 h 252"/>
                <a:gd name="T16" fmla="*/ 140 w 233"/>
                <a:gd name="T17" fmla="*/ 37 h 252"/>
                <a:gd name="T18" fmla="*/ 144 w 233"/>
                <a:gd name="T19" fmla="*/ 42 h 252"/>
                <a:gd name="T20" fmla="*/ 148 w 233"/>
                <a:gd name="T21" fmla="*/ 46 h 252"/>
                <a:gd name="T22" fmla="*/ 153 w 233"/>
                <a:gd name="T23" fmla="*/ 49 h 252"/>
                <a:gd name="T24" fmla="*/ 157 w 233"/>
                <a:gd name="T25" fmla="*/ 52 h 252"/>
                <a:gd name="T26" fmla="*/ 163 w 233"/>
                <a:gd name="T27" fmla="*/ 54 h 252"/>
                <a:gd name="T28" fmla="*/ 168 w 233"/>
                <a:gd name="T29" fmla="*/ 56 h 252"/>
                <a:gd name="T30" fmla="*/ 174 w 233"/>
                <a:gd name="T31" fmla="*/ 56 h 252"/>
                <a:gd name="T32" fmla="*/ 180 w 233"/>
                <a:gd name="T33" fmla="*/ 56 h 252"/>
                <a:gd name="T34" fmla="*/ 180 w 233"/>
                <a:gd name="T35" fmla="*/ 80 h 252"/>
                <a:gd name="T36" fmla="*/ 193 w 233"/>
                <a:gd name="T37" fmla="*/ 103 h 252"/>
                <a:gd name="T38" fmla="*/ 212 w 233"/>
                <a:gd name="T39" fmla="*/ 128 h 252"/>
                <a:gd name="T40" fmla="*/ 215 w 233"/>
                <a:gd name="T41" fmla="*/ 135 h 252"/>
                <a:gd name="T42" fmla="*/ 220 w 233"/>
                <a:gd name="T43" fmla="*/ 142 h 252"/>
                <a:gd name="T44" fmla="*/ 223 w 233"/>
                <a:gd name="T45" fmla="*/ 151 h 252"/>
                <a:gd name="T46" fmla="*/ 226 w 233"/>
                <a:gd name="T47" fmla="*/ 160 h 252"/>
                <a:gd name="T48" fmla="*/ 230 w 233"/>
                <a:gd name="T49" fmla="*/ 170 h 252"/>
                <a:gd name="T50" fmla="*/ 232 w 233"/>
                <a:gd name="T51" fmla="*/ 180 h 252"/>
                <a:gd name="T52" fmla="*/ 233 w 233"/>
                <a:gd name="T53" fmla="*/ 191 h 252"/>
                <a:gd name="T54" fmla="*/ 233 w 233"/>
                <a:gd name="T55" fmla="*/ 204 h 252"/>
                <a:gd name="T56" fmla="*/ 232 w 233"/>
                <a:gd name="T57" fmla="*/ 216 h 252"/>
                <a:gd name="T58" fmla="*/ 230 w 233"/>
                <a:gd name="T59" fmla="*/ 228 h 252"/>
                <a:gd name="T60" fmla="*/ 227 w 233"/>
                <a:gd name="T61" fmla="*/ 240 h 252"/>
                <a:gd name="T62" fmla="*/ 226 w 233"/>
                <a:gd name="T63" fmla="*/ 252 h 252"/>
                <a:gd name="T64" fmla="*/ 222 w 233"/>
                <a:gd name="T65" fmla="*/ 252 h 252"/>
                <a:gd name="T66" fmla="*/ 215 w 233"/>
                <a:gd name="T67" fmla="*/ 250 h 252"/>
                <a:gd name="T68" fmla="*/ 208 w 233"/>
                <a:gd name="T69" fmla="*/ 246 h 252"/>
                <a:gd name="T70" fmla="*/ 198 w 233"/>
                <a:gd name="T71" fmla="*/ 241 h 252"/>
                <a:gd name="T72" fmla="*/ 176 w 233"/>
                <a:gd name="T73" fmla="*/ 226 h 252"/>
                <a:gd name="T74" fmla="*/ 151 w 233"/>
                <a:gd name="T75" fmla="*/ 208 h 252"/>
                <a:gd name="T76" fmla="*/ 125 w 233"/>
                <a:gd name="T77" fmla="*/ 186 h 252"/>
                <a:gd name="T78" fmla="*/ 100 w 233"/>
                <a:gd name="T79" fmla="*/ 165 h 252"/>
                <a:gd name="T80" fmla="*/ 78 w 233"/>
                <a:gd name="T81" fmla="*/ 145 h 252"/>
                <a:gd name="T82" fmla="*/ 61 w 233"/>
                <a:gd name="T83" fmla="*/ 129 h 252"/>
                <a:gd name="T84" fmla="*/ 55 w 233"/>
                <a:gd name="T85" fmla="*/ 125 h 252"/>
                <a:gd name="T86" fmla="*/ 48 w 233"/>
                <a:gd name="T87" fmla="*/ 120 h 252"/>
                <a:gd name="T88" fmla="*/ 41 w 233"/>
                <a:gd name="T89" fmla="*/ 116 h 252"/>
                <a:gd name="T90" fmla="*/ 33 w 233"/>
                <a:gd name="T91" fmla="*/ 112 h 252"/>
                <a:gd name="T92" fmla="*/ 17 w 233"/>
                <a:gd name="T93" fmla="*/ 104 h 252"/>
                <a:gd name="T94" fmla="*/ 0 w 233"/>
                <a:gd name="T95" fmla="*/ 99 h 252"/>
                <a:gd name="T96" fmla="*/ 40 w 233"/>
                <a:gd name="T97" fmla="*/ 63 h 252"/>
                <a:gd name="T98" fmla="*/ 59 w 233"/>
                <a:gd name="T99" fmla="*/ 43 h 252"/>
                <a:gd name="T100" fmla="*/ 65 w 233"/>
                <a:gd name="T101" fmla="*/ 33 h 252"/>
                <a:gd name="T102" fmla="*/ 69 w 233"/>
                <a:gd name="T103" fmla="*/ 25 h 252"/>
                <a:gd name="T104" fmla="*/ 72 w 233"/>
                <a:gd name="T105" fmla="*/ 14 h 252"/>
                <a:gd name="T106" fmla="*/ 74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266">
              <a:extLst>
                <a:ext uri="{FF2B5EF4-FFF2-40B4-BE49-F238E27FC236}">
                  <a16:creationId xmlns="" xmlns:a16="http://schemas.microsoft.com/office/drawing/2014/main" id="{CA3BA241-0050-B24B-B1CD-52379D8A98AF}"/>
                </a:ext>
              </a:extLst>
            </p:cNvPr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935413" y="3319463"/>
              <a:ext cx="104775" cy="201612"/>
            </a:xfrm>
            <a:custGeom>
              <a:avLst/>
              <a:gdLst>
                <a:gd name="T0" fmla="*/ 13 w 246"/>
                <a:gd name="T1" fmla="*/ 376 h 380"/>
                <a:gd name="T2" fmla="*/ 14 w 246"/>
                <a:gd name="T3" fmla="*/ 367 h 380"/>
                <a:gd name="T4" fmla="*/ 15 w 246"/>
                <a:gd name="T5" fmla="*/ 359 h 380"/>
                <a:gd name="T6" fmla="*/ 18 w 246"/>
                <a:gd name="T7" fmla="*/ 351 h 380"/>
                <a:gd name="T8" fmla="*/ 20 w 246"/>
                <a:gd name="T9" fmla="*/ 344 h 380"/>
                <a:gd name="T10" fmla="*/ 25 w 246"/>
                <a:gd name="T11" fmla="*/ 333 h 380"/>
                <a:gd name="T12" fmla="*/ 26 w 246"/>
                <a:gd name="T13" fmla="*/ 327 h 380"/>
                <a:gd name="T14" fmla="*/ 25 w 246"/>
                <a:gd name="T15" fmla="*/ 321 h 380"/>
                <a:gd name="T16" fmla="*/ 23 w 246"/>
                <a:gd name="T17" fmla="*/ 314 h 380"/>
                <a:gd name="T18" fmla="*/ 19 w 246"/>
                <a:gd name="T19" fmla="*/ 305 h 380"/>
                <a:gd name="T20" fmla="*/ 13 w 246"/>
                <a:gd name="T21" fmla="*/ 295 h 380"/>
                <a:gd name="T22" fmla="*/ 9 w 246"/>
                <a:gd name="T23" fmla="*/ 285 h 380"/>
                <a:gd name="T24" fmla="*/ 4 w 246"/>
                <a:gd name="T25" fmla="*/ 275 h 380"/>
                <a:gd name="T26" fmla="*/ 1 w 246"/>
                <a:gd name="T27" fmla="*/ 267 h 380"/>
                <a:gd name="T28" fmla="*/ 0 w 246"/>
                <a:gd name="T29" fmla="*/ 259 h 380"/>
                <a:gd name="T30" fmla="*/ 1 w 246"/>
                <a:gd name="T31" fmla="*/ 251 h 380"/>
                <a:gd name="T32" fmla="*/ 2 w 246"/>
                <a:gd name="T33" fmla="*/ 243 h 380"/>
                <a:gd name="T34" fmla="*/ 3 w 246"/>
                <a:gd name="T35" fmla="*/ 236 h 380"/>
                <a:gd name="T36" fmla="*/ 6 w 246"/>
                <a:gd name="T37" fmla="*/ 230 h 380"/>
                <a:gd name="T38" fmla="*/ 11 w 246"/>
                <a:gd name="T39" fmla="*/ 218 h 380"/>
                <a:gd name="T40" fmla="*/ 19 w 246"/>
                <a:gd name="T41" fmla="*/ 207 h 380"/>
                <a:gd name="T42" fmla="*/ 26 w 246"/>
                <a:gd name="T43" fmla="*/ 197 h 380"/>
                <a:gd name="T44" fmla="*/ 34 w 246"/>
                <a:gd name="T45" fmla="*/ 185 h 380"/>
                <a:gd name="T46" fmla="*/ 41 w 246"/>
                <a:gd name="T47" fmla="*/ 173 h 380"/>
                <a:gd name="T48" fmla="*/ 47 w 246"/>
                <a:gd name="T49" fmla="*/ 160 h 380"/>
                <a:gd name="T50" fmla="*/ 26 w 246"/>
                <a:gd name="T51" fmla="*/ 73 h 380"/>
                <a:gd name="T52" fmla="*/ 26 w 246"/>
                <a:gd name="T53" fmla="*/ 50 h 380"/>
                <a:gd name="T54" fmla="*/ 24 w 246"/>
                <a:gd name="T55" fmla="*/ 33 h 380"/>
                <a:gd name="T56" fmla="*/ 24 w 246"/>
                <a:gd name="T57" fmla="*/ 25 h 380"/>
                <a:gd name="T58" fmla="*/ 24 w 246"/>
                <a:gd name="T59" fmla="*/ 16 h 380"/>
                <a:gd name="T60" fmla="*/ 25 w 246"/>
                <a:gd name="T61" fmla="*/ 8 h 380"/>
                <a:gd name="T62" fmla="*/ 26 w 246"/>
                <a:gd name="T63" fmla="*/ 0 h 380"/>
                <a:gd name="T64" fmla="*/ 180 w 246"/>
                <a:gd name="T65" fmla="*/ 0 h 380"/>
                <a:gd name="T66" fmla="*/ 220 w 246"/>
                <a:gd name="T67" fmla="*/ 129 h 380"/>
                <a:gd name="T68" fmla="*/ 220 w 246"/>
                <a:gd name="T69" fmla="*/ 210 h 380"/>
                <a:gd name="T70" fmla="*/ 220 w 246"/>
                <a:gd name="T71" fmla="*/ 220 h 380"/>
                <a:gd name="T72" fmla="*/ 221 w 246"/>
                <a:gd name="T73" fmla="*/ 230 h 380"/>
                <a:gd name="T74" fmla="*/ 223 w 246"/>
                <a:gd name="T75" fmla="*/ 240 h 380"/>
                <a:gd name="T76" fmla="*/ 225 w 246"/>
                <a:gd name="T77" fmla="*/ 250 h 380"/>
                <a:gd name="T78" fmla="*/ 228 w 246"/>
                <a:gd name="T79" fmla="*/ 259 h 380"/>
                <a:gd name="T80" fmla="*/ 234 w 246"/>
                <a:gd name="T81" fmla="*/ 268 h 380"/>
                <a:gd name="T82" fmla="*/ 239 w 246"/>
                <a:gd name="T83" fmla="*/ 278 h 380"/>
                <a:gd name="T84" fmla="*/ 246 w 246"/>
                <a:gd name="T85" fmla="*/ 289 h 380"/>
                <a:gd name="T86" fmla="*/ 224 w 246"/>
                <a:gd name="T87" fmla="*/ 295 h 380"/>
                <a:gd name="T88" fmla="*/ 202 w 246"/>
                <a:gd name="T89" fmla="*/ 302 h 380"/>
                <a:gd name="T90" fmla="*/ 181 w 246"/>
                <a:gd name="T91" fmla="*/ 310 h 380"/>
                <a:gd name="T92" fmla="*/ 160 w 246"/>
                <a:gd name="T93" fmla="*/ 319 h 380"/>
                <a:gd name="T94" fmla="*/ 141 w 246"/>
                <a:gd name="T95" fmla="*/ 328 h 380"/>
                <a:gd name="T96" fmla="*/ 120 w 246"/>
                <a:gd name="T97" fmla="*/ 338 h 380"/>
                <a:gd name="T98" fmla="*/ 100 w 246"/>
                <a:gd name="T99" fmla="*/ 347 h 380"/>
                <a:gd name="T100" fmla="*/ 80 w 246"/>
                <a:gd name="T101" fmla="*/ 358 h 380"/>
                <a:gd name="T102" fmla="*/ 75 w 246"/>
                <a:gd name="T103" fmla="*/ 363 h 380"/>
                <a:gd name="T104" fmla="*/ 69 w 246"/>
                <a:gd name="T105" fmla="*/ 367 h 380"/>
                <a:gd name="T106" fmla="*/ 62 w 246"/>
                <a:gd name="T107" fmla="*/ 372 h 380"/>
                <a:gd name="T108" fmla="*/ 54 w 246"/>
                <a:gd name="T109" fmla="*/ 376 h 380"/>
                <a:gd name="T110" fmla="*/ 46 w 246"/>
                <a:gd name="T111" fmla="*/ 379 h 380"/>
                <a:gd name="T112" fmla="*/ 36 w 246"/>
                <a:gd name="T113" fmla="*/ 380 h 380"/>
                <a:gd name="T114" fmla="*/ 31 w 246"/>
                <a:gd name="T115" fmla="*/ 380 h 380"/>
                <a:gd name="T116" fmla="*/ 25 w 246"/>
                <a:gd name="T117" fmla="*/ 379 h 380"/>
                <a:gd name="T118" fmla="*/ 20 w 246"/>
                <a:gd name="T119" fmla="*/ 378 h 380"/>
                <a:gd name="T120" fmla="*/ 13 w 246"/>
                <a:gd name="T121" fmla="*/ 376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267">
              <a:extLst>
                <a:ext uri="{FF2B5EF4-FFF2-40B4-BE49-F238E27FC236}">
                  <a16:creationId xmlns="" xmlns:a16="http://schemas.microsoft.com/office/drawing/2014/main" id="{65E3302C-2A65-E34C-949A-5DD7D97BC499}"/>
                </a:ext>
              </a:extLst>
            </p:cNvPr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87750" y="3235325"/>
              <a:ext cx="87313" cy="58738"/>
            </a:xfrm>
            <a:custGeom>
              <a:avLst/>
              <a:gdLst>
                <a:gd name="T0" fmla="*/ 7 w 193"/>
                <a:gd name="T1" fmla="*/ 20 h 38"/>
                <a:gd name="T2" fmla="*/ 38 w 193"/>
                <a:gd name="T3" fmla="*/ 11 h 38"/>
                <a:gd name="T4" fmla="*/ 67 w 193"/>
                <a:gd name="T5" fmla="*/ 5 h 38"/>
                <a:gd name="T6" fmla="*/ 80 w 193"/>
                <a:gd name="T7" fmla="*/ 3 h 38"/>
                <a:gd name="T8" fmla="*/ 94 w 193"/>
                <a:gd name="T9" fmla="*/ 2 h 38"/>
                <a:gd name="T10" fmla="*/ 110 w 193"/>
                <a:gd name="T11" fmla="*/ 1 h 38"/>
                <a:gd name="T12" fmla="*/ 126 w 193"/>
                <a:gd name="T13" fmla="*/ 0 h 38"/>
                <a:gd name="T14" fmla="*/ 138 w 193"/>
                <a:gd name="T15" fmla="*/ 1 h 38"/>
                <a:gd name="T16" fmla="*/ 149 w 193"/>
                <a:gd name="T17" fmla="*/ 1 h 38"/>
                <a:gd name="T18" fmla="*/ 160 w 193"/>
                <a:gd name="T19" fmla="*/ 2 h 38"/>
                <a:gd name="T20" fmla="*/ 169 w 193"/>
                <a:gd name="T21" fmla="*/ 4 h 38"/>
                <a:gd name="T22" fmla="*/ 178 w 193"/>
                <a:gd name="T23" fmla="*/ 6 h 38"/>
                <a:gd name="T24" fmla="*/ 184 w 193"/>
                <a:gd name="T25" fmla="*/ 11 h 38"/>
                <a:gd name="T26" fmla="*/ 187 w 193"/>
                <a:gd name="T27" fmla="*/ 13 h 38"/>
                <a:gd name="T28" fmla="*/ 189 w 193"/>
                <a:gd name="T29" fmla="*/ 18 h 38"/>
                <a:gd name="T30" fmla="*/ 191 w 193"/>
                <a:gd name="T31" fmla="*/ 21 h 38"/>
                <a:gd name="T32" fmla="*/ 193 w 193"/>
                <a:gd name="T33" fmla="*/ 26 h 38"/>
                <a:gd name="T34" fmla="*/ 183 w 193"/>
                <a:gd name="T35" fmla="*/ 27 h 38"/>
                <a:gd name="T36" fmla="*/ 173 w 193"/>
                <a:gd name="T37" fmla="*/ 28 h 38"/>
                <a:gd name="T38" fmla="*/ 165 w 193"/>
                <a:gd name="T39" fmla="*/ 28 h 38"/>
                <a:gd name="T40" fmla="*/ 156 w 193"/>
                <a:gd name="T41" fmla="*/ 28 h 38"/>
                <a:gd name="T42" fmla="*/ 138 w 193"/>
                <a:gd name="T43" fmla="*/ 27 h 38"/>
                <a:gd name="T44" fmla="*/ 120 w 193"/>
                <a:gd name="T45" fmla="*/ 26 h 38"/>
                <a:gd name="T46" fmla="*/ 103 w 193"/>
                <a:gd name="T47" fmla="*/ 26 h 38"/>
                <a:gd name="T48" fmla="*/ 89 w 193"/>
                <a:gd name="T49" fmla="*/ 28 h 38"/>
                <a:gd name="T50" fmla="*/ 76 w 193"/>
                <a:gd name="T51" fmla="*/ 30 h 38"/>
                <a:gd name="T52" fmla="*/ 63 w 193"/>
                <a:gd name="T53" fmla="*/ 32 h 38"/>
                <a:gd name="T54" fmla="*/ 49 w 193"/>
                <a:gd name="T55" fmla="*/ 34 h 38"/>
                <a:gd name="T56" fmla="*/ 35 w 193"/>
                <a:gd name="T57" fmla="*/ 36 h 38"/>
                <a:gd name="T58" fmla="*/ 19 w 193"/>
                <a:gd name="T59" fmla="*/ 37 h 38"/>
                <a:gd name="T60" fmla="*/ 0 w 193"/>
                <a:gd name="T61" fmla="*/ 38 h 38"/>
                <a:gd name="T62" fmla="*/ 0 w 193"/>
                <a:gd name="T63" fmla="*/ 33 h 38"/>
                <a:gd name="T64" fmla="*/ 1 w 193"/>
                <a:gd name="T65" fmla="*/ 29 h 38"/>
                <a:gd name="T66" fmla="*/ 3 w 193"/>
                <a:gd name="T67" fmla="*/ 24 h 38"/>
                <a:gd name="T68" fmla="*/ 7 w 193"/>
                <a:gd name="T69" fmla="*/ 20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268">
              <a:extLst>
                <a:ext uri="{FF2B5EF4-FFF2-40B4-BE49-F238E27FC236}">
                  <a16:creationId xmlns="" xmlns:a16="http://schemas.microsoft.com/office/drawing/2014/main" id="{59CCF729-FF59-024C-B191-5D47B77889B0}"/>
                </a:ext>
              </a:extLst>
            </p:cNvPr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4013200" y="3313113"/>
              <a:ext cx="42863" cy="155575"/>
            </a:xfrm>
            <a:custGeom>
              <a:avLst/>
              <a:gdLst>
                <a:gd name="T0" fmla="*/ 53 w 99"/>
                <a:gd name="T1" fmla="*/ 12 h 301"/>
                <a:gd name="T2" fmla="*/ 59 w 99"/>
                <a:gd name="T3" fmla="*/ 12 h 301"/>
                <a:gd name="T4" fmla="*/ 59 w 99"/>
                <a:gd name="T5" fmla="*/ 19 h 301"/>
                <a:gd name="T6" fmla="*/ 62 w 99"/>
                <a:gd name="T7" fmla="*/ 26 h 301"/>
                <a:gd name="T8" fmla="*/ 63 w 99"/>
                <a:gd name="T9" fmla="*/ 33 h 301"/>
                <a:gd name="T10" fmla="*/ 66 w 99"/>
                <a:gd name="T11" fmla="*/ 42 h 301"/>
                <a:gd name="T12" fmla="*/ 72 w 99"/>
                <a:gd name="T13" fmla="*/ 58 h 301"/>
                <a:gd name="T14" fmla="*/ 79 w 99"/>
                <a:gd name="T15" fmla="*/ 75 h 301"/>
                <a:gd name="T16" fmla="*/ 87 w 99"/>
                <a:gd name="T17" fmla="*/ 93 h 301"/>
                <a:gd name="T18" fmla="*/ 93 w 99"/>
                <a:gd name="T19" fmla="*/ 111 h 301"/>
                <a:gd name="T20" fmla="*/ 96 w 99"/>
                <a:gd name="T21" fmla="*/ 120 h 301"/>
                <a:gd name="T22" fmla="*/ 98 w 99"/>
                <a:gd name="T23" fmla="*/ 129 h 301"/>
                <a:gd name="T24" fmla="*/ 99 w 99"/>
                <a:gd name="T25" fmla="*/ 138 h 301"/>
                <a:gd name="T26" fmla="*/ 99 w 99"/>
                <a:gd name="T27" fmla="*/ 148 h 301"/>
                <a:gd name="T28" fmla="*/ 99 w 99"/>
                <a:gd name="T29" fmla="*/ 289 h 301"/>
                <a:gd name="T30" fmla="*/ 89 w 99"/>
                <a:gd name="T31" fmla="*/ 290 h 301"/>
                <a:gd name="T32" fmla="*/ 80 w 99"/>
                <a:gd name="T33" fmla="*/ 293 h 301"/>
                <a:gd name="T34" fmla="*/ 73 w 99"/>
                <a:gd name="T35" fmla="*/ 297 h 301"/>
                <a:gd name="T36" fmla="*/ 66 w 99"/>
                <a:gd name="T37" fmla="*/ 301 h 301"/>
                <a:gd name="T38" fmla="*/ 59 w 99"/>
                <a:gd name="T39" fmla="*/ 290 h 301"/>
                <a:gd name="T40" fmla="*/ 54 w 99"/>
                <a:gd name="T41" fmla="*/ 280 h 301"/>
                <a:gd name="T42" fmla="*/ 48 w 99"/>
                <a:gd name="T43" fmla="*/ 271 h 301"/>
                <a:gd name="T44" fmla="*/ 45 w 99"/>
                <a:gd name="T45" fmla="*/ 262 h 301"/>
                <a:gd name="T46" fmla="*/ 43 w 99"/>
                <a:gd name="T47" fmla="*/ 252 h 301"/>
                <a:gd name="T48" fmla="*/ 41 w 99"/>
                <a:gd name="T49" fmla="*/ 242 h 301"/>
                <a:gd name="T50" fmla="*/ 40 w 99"/>
                <a:gd name="T51" fmla="*/ 232 h 301"/>
                <a:gd name="T52" fmla="*/ 40 w 99"/>
                <a:gd name="T53" fmla="*/ 222 h 301"/>
                <a:gd name="T54" fmla="*/ 40 w 99"/>
                <a:gd name="T55" fmla="*/ 141 h 301"/>
                <a:gd name="T56" fmla="*/ 0 w 99"/>
                <a:gd name="T57" fmla="*/ 6 h 301"/>
                <a:gd name="T58" fmla="*/ 5 w 99"/>
                <a:gd name="T59" fmla="*/ 2 h 301"/>
                <a:gd name="T60" fmla="*/ 10 w 99"/>
                <a:gd name="T61" fmla="*/ 0 h 301"/>
                <a:gd name="T62" fmla="*/ 14 w 99"/>
                <a:gd name="T63" fmla="*/ 0 h 301"/>
                <a:gd name="T64" fmla="*/ 20 w 99"/>
                <a:gd name="T65" fmla="*/ 0 h 301"/>
                <a:gd name="T66" fmla="*/ 26 w 99"/>
                <a:gd name="T67" fmla="*/ 0 h 301"/>
                <a:gd name="T68" fmla="*/ 32 w 99"/>
                <a:gd name="T69" fmla="*/ 2 h 301"/>
                <a:gd name="T70" fmla="*/ 37 w 99"/>
                <a:gd name="T71" fmla="*/ 4 h 301"/>
                <a:gd name="T72" fmla="*/ 41 w 99"/>
                <a:gd name="T73" fmla="*/ 6 h 301"/>
                <a:gd name="T74" fmla="*/ 47 w 99"/>
                <a:gd name="T75" fmla="*/ 10 h 301"/>
                <a:gd name="T76" fmla="*/ 53 w 99"/>
                <a:gd name="T77" fmla="*/ 12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269">
              <a:extLst>
                <a:ext uri="{FF2B5EF4-FFF2-40B4-BE49-F238E27FC236}">
                  <a16:creationId xmlns="" xmlns:a16="http://schemas.microsoft.com/office/drawing/2014/main" id="{C0352153-D353-6E4E-8509-4C13BBE90925}"/>
                </a:ext>
              </a:extLst>
            </p:cNvPr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4038600" y="3275013"/>
              <a:ext cx="76200" cy="188912"/>
            </a:xfrm>
            <a:custGeom>
              <a:avLst/>
              <a:gdLst>
                <a:gd name="T0" fmla="*/ 0 w 173"/>
                <a:gd name="T1" fmla="*/ 80 h 357"/>
                <a:gd name="T2" fmla="*/ 9 w 173"/>
                <a:gd name="T3" fmla="*/ 72 h 357"/>
                <a:gd name="T4" fmla="*/ 17 w 173"/>
                <a:gd name="T5" fmla="*/ 65 h 357"/>
                <a:gd name="T6" fmla="*/ 25 w 173"/>
                <a:gd name="T7" fmla="*/ 60 h 357"/>
                <a:gd name="T8" fmla="*/ 33 w 173"/>
                <a:gd name="T9" fmla="*/ 56 h 357"/>
                <a:gd name="T10" fmla="*/ 40 w 173"/>
                <a:gd name="T11" fmla="*/ 50 h 357"/>
                <a:gd name="T12" fmla="*/ 67 w 173"/>
                <a:gd name="T13" fmla="*/ 50 h 357"/>
                <a:gd name="T14" fmla="*/ 94 w 173"/>
                <a:gd name="T15" fmla="*/ 0 h 357"/>
                <a:gd name="T16" fmla="*/ 101 w 173"/>
                <a:gd name="T17" fmla="*/ 3 h 357"/>
                <a:gd name="T18" fmla="*/ 108 w 173"/>
                <a:gd name="T19" fmla="*/ 7 h 357"/>
                <a:gd name="T20" fmla="*/ 116 w 173"/>
                <a:gd name="T21" fmla="*/ 12 h 357"/>
                <a:gd name="T22" fmla="*/ 123 w 173"/>
                <a:gd name="T23" fmla="*/ 18 h 357"/>
                <a:gd name="T24" fmla="*/ 131 w 173"/>
                <a:gd name="T25" fmla="*/ 22 h 357"/>
                <a:gd name="T26" fmla="*/ 139 w 173"/>
                <a:gd name="T27" fmla="*/ 27 h 357"/>
                <a:gd name="T28" fmla="*/ 145 w 173"/>
                <a:gd name="T29" fmla="*/ 29 h 357"/>
                <a:gd name="T30" fmla="*/ 153 w 173"/>
                <a:gd name="T31" fmla="*/ 30 h 357"/>
                <a:gd name="T32" fmla="*/ 163 w 173"/>
                <a:gd name="T33" fmla="*/ 39 h 357"/>
                <a:gd name="T34" fmla="*/ 173 w 173"/>
                <a:gd name="T35" fmla="*/ 50 h 357"/>
                <a:gd name="T36" fmla="*/ 173 w 173"/>
                <a:gd name="T37" fmla="*/ 61 h 357"/>
                <a:gd name="T38" fmla="*/ 173 w 173"/>
                <a:gd name="T39" fmla="*/ 69 h 357"/>
                <a:gd name="T40" fmla="*/ 173 w 173"/>
                <a:gd name="T41" fmla="*/ 80 h 357"/>
                <a:gd name="T42" fmla="*/ 173 w 173"/>
                <a:gd name="T43" fmla="*/ 98 h 357"/>
                <a:gd name="T44" fmla="*/ 173 w 173"/>
                <a:gd name="T45" fmla="*/ 109 h 357"/>
                <a:gd name="T46" fmla="*/ 171 w 173"/>
                <a:gd name="T47" fmla="*/ 118 h 357"/>
                <a:gd name="T48" fmla="*/ 167 w 173"/>
                <a:gd name="T49" fmla="*/ 127 h 357"/>
                <a:gd name="T50" fmla="*/ 163 w 173"/>
                <a:gd name="T51" fmla="*/ 135 h 357"/>
                <a:gd name="T52" fmla="*/ 152 w 173"/>
                <a:gd name="T53" fmla="*/ 151 h 357"/>
                <a:gd name="T54" fmla="*/ 140 w 173"/>
                <a:gd name="T55" fmla="*/ 167 h 357"/>
                <a:gd name="T56" fmla="*/ 128 w 173"/>
                <a:gd name="T57" fmla="*/ 183 h 357"/>
                <a:gd name="T58" fmla="*/ 117 w 173"/>
                <a:gd name="T59" fmla="*/ 200 h 357"/>
                <a:gd name="T60" fmla="*/ 112 w 173"/>
                <a:gd name="T61" fmla="*/ 209 h 357"/>
                <a:gd name="T62" fmla="*/ 109 w 173"/>
                <a:gd name="T63" fmla="*/ 219 h 357"/>
                <a:gd name="T64" fmla="*/ 108 w 173"/>
                <a:gd name="T65" fmla="*/ 229 h 357"/>
                <a:gd name="T66" fmla="*/ 107 w 173"/>
                <a:gd name="T67" fmla="*/ 240 h 357"/>
                <a:gd name="T68" fmla="*/ 108 w 173"/>
                <a:gd name="T69" fmla="*/ 273 h 357"/>
                <a:gd name="T70" fmla="*/ 109 w 173"/>
                <a:gd name="T71" fmla="*/ 293 h 357"/>
                <a:gd name="T72" fmla="*/ 110 w 173"/>
                <a:gd name="T73" fmla="*/ 302 h 357"/>
                <a:gd name="T74" fmla="*/ 109 w 173"/>
                <a:gd name="T75" fmla="*/ 313 h 357"/>
                <a:gd name="T76" fmla="*/ 109 w 173"/>
                <a:gd name="T77" fmla="*/ 327 h 357"/>
                <a:gd name="T78" fmla="*/ 107 w 173"/>
                <a:gd name="T79" fmla="*/ 345 h 357"/>
                <a:gd name="T80" fmla="*/ 97 w 173"/>
                <a:gd name="T81" fmla="*/ 346 h 357"/>
                <a:gd name="T82" fmla="*/ 88 w 173"/>
                <a:gd name="T83" fmla="*/ 347 h 357"/>
                <a:gd name="T84" fmla="*/ 79 w 173"/>
                <a:gd name="T85" fmla="*/ 349 h 357"/>
                <a:gd name="T86" fmla="*/ 71 w 173"/>
                <a:gd name="T87" fmla="*/ 351 h 357"/>
                <a:gd name="T88" fmla="*/ 63 w 173"/>
                <a:gd name="T89" fmla="*/ 353 h 357"/>
                <a:gd name="T90" fmla="*/ 55 w 173"/>
                <a:gd name="T91" fmla="*/ 355 h 357"/>
                <a:gd name="T92" fmla="*/ 48 w 173"/>
                <a:gd name="T93" fmla="*/ 357 h 357"/>
                <a:gd name="T94" fmla="*/ 40 w 173"/>
                <a:gd name="T95" fmla="*/ 357 h 357"/>
                <a:gd name="T96" fmla="*/ 40 w 173"/>
                <a:gd name="T97" fmla="*/ 216 h 357"/>
                <a:gd name="T98" fmla="*/ 40 w 173"/>
                <a:gd name="T99" fmla="*/ 206 h 357"/>
                <a:gd name="T100" fmla="*/ 39 w 173"/>
                <a:gd name="T101" fmla="*/ 197 h 357"/>
                <a:gd name="T102" fmla="*/ 37 w 173"/>
                <a:gd name="T103" fmla="*/ 188 h 357"/>
                <a:gd name="T104" fmla="*/ 34 w 173"/>
                <a:gd name="T105" fmla="*/ 179 h 357"/>
                <a:gd name="T106" fmla="*/ 28 w 173"/>
                <a:gd name="T107" fmla="*/ 161 h 357"/>
                <a:gd name="T108" fmla="*/ 20 w 173"/>
                <a:gd name="T109" fmla="*/ 143 h 357"/>
                <a:gd name="T110" fmla="*/ 13 w 173"/>
                <a:gd name="T111" fmla="*/ 126 h 357"/>
                <a:gd name="T112" fmla="*/ 7 w 173"/>
                <a:gd name="T113" fmla="*/ 110 h 357"/>
                <a:gd name="T114" fmla="*/ 4 w 173"/>
                <a:gd name="T115" fmla="*/ 101 h 357"/>
                <a:gd name="T116" fmla="*/ 3 w 173"/>
                <a:gd name="T117" fmla="*/ 94 h 357"/>
                <a:gd name="T118" fmla="*/ 0 w 173"/>
                <a:gd name="T119" fmla="*/ 87 h 357"/>
                <a:gd name="T120" fmla="*/ 0 w 173"/>
                <a:gd name="T121" fmla="*/ 80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270">
              <a:extLst>
                <a:ext uri="{FF2B5EF4-FFF2-40B4-BE49-F238E27FC236}">
                  <a16:creationId xmlns="" xmlns:a16="http://schemas.microsoft.com/office/drawing/2014/main" id="{AC6C7514-2C0B-904B-97D3-1FE7410CC88F}"/>
                </a:ext>
              </a:extLst>
            </p:cNvPr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4767263" y="4479925"/>
              <a:ext cx="25400" cy="60325"/>
            </a:xfrm>
            <a:custGeom>
              <a:avLst/>
              <a:gdLst>
                <a:gd name="T0" fmla="*/ 10 w 50"/>
                <a:gd name="T1" fmla="*/ 0 h 74"/>
                <a:gd name="T2" fmla="*/ 6 w 50"/>
                <a:gd name="T3" fmla="*/ 14 h 74"/>
                <a:gd name="T4" fmla="*/ 2 w 50"/>
                <a:gd name="T5" fmla="*/ 26 h 74"/>
                <a:gd name="T6" fmla="*/ 0 w 50"/>
                <a:gd name="T7" fmla="*/ 36 h 74"/>
                <a:gd name="T8" fmla="*/ 0 w 50"/>
                <a:gd name="T9" fmla="*/ 43 h 74"/>
                <a:gd name="T10" fmla="*/ 0 w 50"/>
                <a:gd name="T11" fmla="*/ 50 h 74"/>
                <a:gd name="T12" fmla="*/ 2 w 50"/>
                <a:gd name="T13" fmla="*/ 56 h 74"/>
                <a:gd name="T14" fmla="*/ 6 w 50"/>
                <a:gd name="T15" fmla="*/ 61 h 74"/>
                <a:gd name="T16" fmla="*/ 10 w 50"/>
                <a:gd name="T17" fmla="*/ 68 h 74"/>
                <a:gd name="T18" fmla="*/ 50 w 50"/>
                <a:gd name="T19" fmla="*/ 74 h 74"/>
                <a:gd name="T20" fmla="*/ 50 w 50"/>
                <a:gd name="T21" fmla="*/ 51 h 74"/>
                <a:gd name="T22" fmla="*/ 50 w 50"/>
                <a:gd name="T23" fmla="*/ 34 h 74"/>
                <a:gd name="T24" fmla="*/ 50 w 50"/>
                <a:gd name="T25" fmla="*/ 19 h 74"/>
                <a:gd name="T26" fmla="*/ 50 w 50"/>
                <a:gd name="T27" fmla="*/ 0 h 74"/>
                <a:gd name="T28" fmla="*/ 38 w 50"/>
                <a:gd name="T29" fmla="*/ 0 h 74"/>
                <a:gd name="T30" fmla="*/ 25 w 50"/>
                <a:gd name="T31" fmla="*/ 0 h 74"/>
                <a:gd name="T32" fmla="*/ 14 w 50"/>
                <a:gd name="T33" fmla="*/ 0 h 74"/>
                <a:gd name="T34" fmla="*/ 10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Freeform 271">
              <a:extLst>
                <a:ext uri="{FF2B5EF4-FFF2-40B4-BE49-F238E27FC236}">
                  <a16:creationId xmlns="" xmlns:a16="http://schemas.microsoft.com/office/drawing/2014/main" id="{414A2F4A-AD44-8F4F-83AD-10076758E3AD}"/>
                </a:ext>
              </a:extLst>
            </p:cNvPr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272">
              <a:extLst>
                <a:ext uri="{FF2B5EF4-FFF2-40B4-BE49-F238E27FC236}">
                  <a16:creationId xmlns="" xmlns:a16="http://schemas.microsoft.com/office/drawing/2014/main" id="{DF2F1407-EE54-834D-9CFB-B0EB4780CF20}"/>
                </a:ext>
              </a:extLst>
            </p:cNvPr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0225" y="2290763"/>
              <a:ext cx="120650" cy="171450"/>
            </a:xfrm>
            <a:custGeom>
              <a:avLst/>
              <a:gdLst>
                <a:gd name="T0" fmla="*/ 240 w 266"/>
                <a:gd name="T1" fmla="*/ 9 h 326"/>
                <a:gd name="T2" fmla="*/ 240 w 266"/>
                <a:gd name="T3" fmla="*/ 28 h 326"/>
                <a:gd name="T4" fmla="*/ 249 w 266"/>
                <a:gd name="T5" fmla="*/ 42 h 326"/>
                <a:gd name="T6" fmla="*/ 245 w 266"/>
                <a:gd name="T7" fmla="*/ 55 h 326"/>
                <a:gd name="T8" fmla="*/ 225 w 266"/>
                <a:gd name="T9" fmla="*/ 50 h 326"/>
                <a:gd name="T10" fmla="*/ 210 w 266"/>
                <a:gd name="T11" fmla="*/ 51 h 326"/>
                <a:gd name="T12" fmla="*/ 195 w 266"/>
                <a:gd name="T13" fmla="*/ 65 h 326"/>
                <a:gd name="T14" fmla="*/ 193 w 266"/>
                <a:gd name="T15" fmla="*/ 78 h 326"/>
                <a:gd name="T16" fmla="*/ 198 w 266"/>
                <a:gd name="T17" fmla="*/ 89 h 326"/>
                <a:gd name="T18" fmla="*/ 215 w 266"/>
                <a:gd name="T19" fmla="*/ 110 h 326"/>
                <a:gd name="T20" fmla="*/ 224 w 266"/>
                <a:gd name="T21" fmla="*/ 122 h 326"/>
                <a:gd name="T22" fmla="*/ 225 w 266"/>
                <a:gd name="T23" fmla="*/ 133 h 326"/>
                <a:gd name="T24" fmla="*/ 222 w 266"/>
                <a:gd name="T25" fmla="*/ 143 h 326"/>
                <a:gd name="T26" fmla="*/ 207 w 266"/>
                <a:gd name="T27" fmla="*/ 154 h 326"/>
                <a:gd name="T28" fmla="*/ 200 w 266"/>
                <a:gd name="T29" fmla="*/ 160 h 326"/>
                <a:gd name="T30" fmla="*/ 181 w 266"/>
                <a:gd name="T31" fmla="*/ 166 h 326"/>
                <a:gd name="T32" fmla="*/ 164 w 266"/>
                <a:gd name="T33" fmla="*/ 178 h 326"/>
                <a:gd name="T34" fmla="*/ 160 w 266"/>
                <a:gd name="T35" fmla="*/ 191 h 326"/>
                <a:gd name="T36" fmla="*/ 173 w 266"/>
                <a:gd name="T37" fmla="*/ 207 h 326"/>
                <a:gd name="T38" fmla="*/ 189 w 266"/>
                <a:gd name="T39" fmla="*/ 215 h 326"/>
                <a:gd name="T40" fmla="*/ 214 w 266"/>
                <a:gd name="T41" fmla="*/ 227 h 326"/>
                <a:gd name="T42" fmla="*/ 245 w 266"/>
                <a:gd name="T43" fmla="*/ 259 h 326"/>
                <a:gd name="T44" fmla="*/ 251 w 266"/>
                <a:gd name="T45" fmla="*/ 285 h 326"/>
                <a:gd name="T46" fmla="*/ 220 w 266"/>
                <a:gd name="T47" fmla="*/ 291 h 326"/>
                <a:gd name="T48" fmla="*/ 207 w 266"/>
                <a:gd name="T49" fmla="*/ 298 h 326"/>
                <a:gd name="T50" fmla="*/ 198 w 266"/>
                <a:gd name="T51" fmla="*/ 312 h 326"/>
                <a:gd name="T52" fmla="*/ 189 w 266"/>
                <a:gd name="T53" fmla="*/ 326 h 326"/>
                <a:gd name="T54" fmla="*/ 170 w 266"/>
                <a:gd name="T55" fmla="*/ 321 h 326"/>
                <a:gd name="T56" fmla="*/ 167 w 266"/>
                <a:gd name="T57" fmla="*/ 316 h 326"/>
                <a:gd name="T58" fmla="*/ 154 w 266"/>
                <a:gd name="T59" fmla="*/ 310 h 326"/>
                <a:gd name="T60" fmla="*/ 139 w 266"/>
                <a:gd name="T61" fmla="*/ 301 h 326"/>
                <a:gd name="T62" fmla="*/ 126 w 266"/>
                <a:gd name="T63" fmla="*/ 295 h 326"/>
                <a:gd name="T64" fmla="*/ 98 w 266"/>
                <a:gd name="T65" fmla="*/ 290 h 326"/>
                <a:gd name="T66" fmla="*/ 63 w 266"/>
                <a:gd name="T67" fmla="*/ 277 h 326"/>
                <a:gd name="T68" fmla="*/ 54 w 266"/>
                <a:gd name="T69" fmla="*/ 268 h 326"/>
                <a:gd name="T70" fmla="*/ 55 w 266"/>
                <a:gd name="T71" fmla="*/ 256 h 326"/>
                <a:gd name="T72" fmla="*/ 70 w 266"/>
                <a:gd name="T73" fmla="*/ 244 h 326"/>
                <a:gd name="T74" fmla="*/ 59 w 266"/>
                <a:gd name="T75" fmla="*/ 221 h 326"/>
                <a:gd name="T76" fmla="*/ 34 w 266"/>
                <a:gd name="T77" fmla="*/ 194 h 326"/>
                <a:gd name="T78" fmla="*/ 13 w 266"/>
                <a:gd name="T79" fmla="*/ 182 h 326"/>
                <a:gd name="T80" fmla="*/ 4 w 266"/>
                <a:gd name="T81" fmla="*/ 171 h 326"/>
                <a:gd name="T82" fmla="*/ 19 w 266"/>
                <a:gd name="T83" fmla="*/ 152 h 326"/>
                <a:gd name="T84" fmla="*/ 54 w 266"/>
                <a:gd name="T85" fmla="*/ 124 h 326"/>
                <a:gd name="T86" fmla="*/ 73 w 266"/>
                <a:gd name="T87" fmla="*/ 105 h 326"/>
                <a:gd name="T88" fmla="*/ 88 w 266"/>
                <a:gd name="T89" fmla="*/ 92 h 326"/>
                <a:gd name="T90" fmla="*/ 110 w 266"/>
                <a:gd name="T91" fmla="*/ 88 h 326"/>
                <a:gd name="T92" fmla="*/ 144 w 266"/>
                <a:gd name="T93" fmla="*/ 70 h 326"/>
                <a:gd name="T94" fmla="*/ 168 w 266"/>
                <a:gd name="T95" fmla="*/ 46 h 326"/>
                <a:gd name="T96" fmla="*/ 191 w 266"/>
                <a:gd name="T97" fmla="*/ 21 h 326"/>
                <a:gd name="T98" fmla="*/ 220 w 266"/>
                <a:gd name="T99" fmla="*/ 4 h 326"/>
                <a:gd name="T100" fmla="*/ 238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Freeform 273">
              <a:extLst>
                <a:ext uri="{FF2B5EF4-FFF2-40B4-BE49-F238E27FC236}">
                  <a16:creationId xmlns="" xmlns:a16="http://schemas.microsoft.com/office/drawing/2014/main" id="{45BB3C2E-48FD-BD44-B6C2-9CD07DB6D434}"/>
                </a:ext>
              </a:extLst>
            </p:cNvPr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5951538" y="2705100"/>
              <a:ext cx="206375" cy="123825"/>
            </a:xfrm>
            <a:custGeom>
              <a:avLst/>
              <a:gdLst>
                <a:gd name="T0" fmla="*/ 86 w 471"/>
                <a:gd name="T1" fmla="*/ 0 h 237"/>
                <a:gd name="T2" fmla="*/ 92 w 471"/>
                <a:gd name="T3" fmla="*/ 7 h 237"/>
                <a:gd name="T4" fmla="*/ 102 w 471"/>
                <a:gd name="T5" fmla="*/ 13 h 237"/>
                <a:gd name="T6" fmla="*/ 125 w 471"/>
                <a:gd name="T7" fmla="*/ 23 h 237"/>
                <a:gd name="T8" fmla="*/ 159 w 471"/>
                <a:gd name="T9" fmla="*/ 37 h 237"/>
                <a:gd name="T10" fmla="*/ 223 w 471"/>
                <a:gd name="T11" fmla="*/ 77 h 237"/>
                <a:gd name="T12" fmla="*/ 253 w 471"/>
                <a:gd name="T13" fmla="*/ 97 h 237"/>
                <a:gd name="T14" fmla="*/ 283 w 471"/>
                <a:gd name="T15" fmla="*/ 113 h 237"/>
                <a:gd name="T16" fmla="*/ 316 w 471"/>
                <a:gd name="T17" fmla="*/ 127 h 237"/>
                <a:gd name="T18" fmla="*/ 355 w 471"/>
                <a:gd name="T19" fmla="*/ 139 h 237"/>
                <a:gd name="T20" fmla="*/ 399 w 471"/>
                <a:gd name="T21" fmla="*/ 146 h 237"/>
                <a:gd name="T22" fmla="*/ 451 w 471"/>
                <a:gd name="T23" fmla="*/ 148 h 237"/>
                <a:gd name="T24" fmla="*/ 452 w 471"/>
                <a:gd name="T25" fmla="*/ 187 h 237"/>
                <a:gd name="T26" fmla="*/ 459 w 471"/>
                <a:gd name="T27" fmla="*/ 211 h 237"/>
                <a:gd name="T28" fmla="*/ 467 w 471"/>
                <a:gd name="T29" fmla="*/ 227 h 237"/>
                <a:gd name="T30" fmla="*/ 467 w 471"/>
                <a:gd name="T31" fmla="*/ 236 h 237"/>
                <a:gd name="T32" fmla="*/ 451 w 471"/>
                <a:gd name="T33" fmla="*/ 236 h 237"/>
                <a:gd name="T34" fmla="*/ 416 w 471"/>
                <a:gd name="T35" fmla="*/ 231 h 237"/>
                <a:gd name="T36" fmla="*/ 362 w 471"/>
                <a:gd name="T37" fmla="*/ 219 h 237"/>
                <a:gd name="T38" fmla="*/ 315 w 471"/>
                <a:gd name="T39" fmla="*/ 207 h 237"/>
                <a:gd name="T40" fmla="*/ 294 w 471"/>
                <a:gd name="T41" fmla="*/ 203 h 237"/>
                <a:gd name="T42" fmla="*/ 287 w 471"/>
                <a:gd name="T43" fmla="*/ 199 h 237"/>
                <a:gd name="T44" fmla="*/ 277 w 471"/>
                <a:gd name="T45" fmla="*/ 190 h 237"/>
                <a:gd name="T46" fmla="*/ 267 w 471"/>
                <a:gd name="T47" fmla="*/ 178 h 237"/>
                <a:gd name="T48" fmla="*/ 255 w 471"/>
                <a:gd name="T49" fmla="*/ 166 h 237"/>
                <a:gd name="T50" fmla="*/ 240 w 471"/>
                <a:gd name="T51" fmla="*/ 159 h 237"/>
                <a:gd name="T52" fmla="*/ 227 w 471"/>
                <a:gd name="T53" fmla="*/ 159 h 237"/>
                <a:gd name="T54" fmla="*/ 205 w 471"/>
                <a:gd name="T55" fmla="*/ 163 h 237"/>
                <a:gd name="T56" fmla="*/ 183 w 471"/>
                <a:gd name="T57" fmla="*/ 167 h 237"/>
                <a:gd name="T58" fmla="*/ 169 w 471"/>
                <a:gd name="T59" fmla="*/ 168 h 237"/>
                <a:gd name="T60" fmla="*/ 158 w 471"/>
                <a:gd name="T61" fmla="*/ 164 h 237"/>
                <a:gd name="T62" fmla="*/ 148 w 471"/>
                <a:gd name="T63" fmla="*/ 155 h 237"/>
                <a:gd name="T64" fmla="*/ 139 w 471"/>
                <a:gd name="T65" fmla="*/ 148 h 237"/>
                <a:gd name="T66" fmla="*/ 122 w 471"/>
                <a:gd name="T67" fmla="*/ 145 h 237"/>
                <a:gd name="T68" fmla="*/ 92 w 471"/>
                <a:gd name="T69" fmla="*/ 135 h 237"/>
                <a:gd name="T70" fmla="*/ 48 w 471"/>
                <a:gd name="T71" fmla="*/ 117 h 237"/>
                <a:gd name="T72" fmla="*/ 12 w 471"/>
                <a:gd name="T73" fmla="*/ 96 h 237"/>
                <a:gd name="T74" fmla="*/ 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274">
              <a:extLst>
                <a:ext uri="{FF2B5EF4-FFF2-40B4-BE49-F238E27FC236}">
                  <a16:creationId xmlns="" xmlns:a16="http://schemas.microsoft.com/office/drawing/2014/main" id="{3007A436-A21A-3948-B306-F3D2683F04EC}"/>
                </a:ext>
              </a:extLst>
            </p:cNvPr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6167438" y="2760663"/>
              <a:ext cx="73025" cy="65087"/>
            </a:xfrm>
            <a:custGeom>
              <a:avLst/>
              <a:gdLst>
                <a:gd name="T0" fmla="*/ 167 w 167"/>
                <a:gd name="T1" fmla="*/ 43 h 123"/>
                <a:gd name="T2" fmla="*/ 164 w 167"/>
                <a:gd name="T3" fmla="*/ 54 h 123"/>
                <a:gd name="T4" fmla="*/ 161 w 167"/>
                <a:gd name="T5" fmla="*/ 66 h 123"/>
                <a:gd name="T6" fmla="*/ 155 w 167"/>
                <a:gd name="T7" fmla="*/ 79 h 123"/>
                <a:gd name="T8" fmla="*/ 150 w 167"/>
                <a:gd name="T9" fmla="*/ 93 h 123"/>
                <a:gd name="T10" fmla="*/ 146 w 167"/>
                <a:gd name="T11" fmla="*/ 99 h 123"/>
                <a:gd name="T12" fmla="*/ 142 w 167"/>
                <a:gd name="T13" fmla="*/ 105 h 123"/>
                <a:gd name="T14" fmla="*/ 138 w 167"/>
                <a:gd name="T15" fmla="*/ 110 h 123"/>
                <a:gd name="T16" fmla="*/ 132 w 167"/>
                <a:gd name="T17" fmla="*/ 114 h 123"/>
                <a:gd name="T18" fmla="*/ 127 w 167"/>
                <a:gd name="T19" fmla="*/ 118 h 123"/>
                <a:gd name="T20" fmla="*/ 121 w 167"/>
                <a:gd name="T21" fmla="*/ 121 h 123"/>
                <a:gd name="T22" fmla="*/ 115 w 167"/>
                <a:gd name="T23" fmla="*/ 122 h 123"/>
                <a:gd name="T24" fmla="*/ 107 w 167"/>
                <a:gd name="T25" fmla="*/ 123 h 123"/>
                <a:gd name="T26" fmla="*/ 100 w 167"/>
                <a:gd name="T27" fmla="*/ 122 h 123"/>
                <a:gd name="T28" fmla="*/ 92 w 167"/>
                <a:gd name="T29" fmla="*/ 119 h 123"/>
                <a:gd name="T30" fmla="*/ 87 w 167"/>
                <a:gd name="T31" fmla="*/ 116 h 123"/>
                <a:gd name="T32" fmla="*/ 84 w 167"/>
                <a:gd name="T33" fmla="*/ 113 h 123"/>
                <a:gd name="T34" fmla="*/ 82 w 167"/>
                <a:gd name="T35" fmla="*/ 109 h 123"/>
                <a:gd name="T36" fmla="*/ 81 w 167"/>
                <a:gd name="T37" fmla="*/ 105 h 123"/>
                <a:gd name="T38" fmla="*/ 71 w 167"/>
                <a:gd name="T39" fmla="*/ 104 h 123"/>
                <a:gd name="T40" fmla="*/ 61 w 167"/>
                <a:gd name="T41" fmla="*/ 103 h 123"/>
                <a:gd name="T42" fmla="*/ 51 w 167"/>
                <a:gd name="T43" fmla="*/ 101 h 123"/>
                <a:gd name="T44" fmla="*/ 41 w 167"/>
                <a:gd name="T45" fmla="*/ 98 h 123"/>
                <a:gd name="T46" fmla="*/ 21 w 167"/>
                <a:gd name="T47" fmla="*/ 92 h 123"/>
                <a:gd name="T48" fmla="*/ 0 w 167"/>
                <a:gd name="T49" fmla="*/ 86 h 123"/>
                <a:gd name="T50" fmla="*/ 2 w 167"/>
                <a:gd name="T51" fmla="*/ 77 h 123"/>
                <a:gd name="T52" fmla="*/ 5 w 167"/>
                <a:gd name="T53" fmla="*/ 67 h 123"/>
                <a:gd name="T54" fmla="*/ 9 w 167"/>
                <a:gd name="T55" fmla="*/ 56 h 123"/>
                <a:gd name="T56" fmla="*/ 15 w 167"/>
                <a:gd name="T57" fmla="*/ 43 h 123"/>
                <a:gd name="T58" fmla="*/ 20 w 167"/>
                <a:gd name="T59" fmla="*/ 43 h 123"/>
                <a:gd name="T60" fmla="*/ 26 w 167"/>
                <a:gd name="T61" fmla="*/ 42 h 123"/>
                <a:gd name="T62" fmla="*/ 30 w 167"/>
                <a:gd name="T63" fmla="*/ 41 h 123"/>
                <a:gd name="T64" fmla="*/ 33 w 167"/>
                <a:gd name="T65" fmla="*/ 38 h 123"/>
                <a:gd name="T66" fmla="*/ 40 w 167"/>
                <a:gd name="T67" fmla="*/ 33 h 123"/>
                <a:gd name="T68" fmla="*/ 45 w 167"/>
                <a:gd name="T69" fmla="*/ 26 h 123"/>
                <a:gd name="T70" fmla="*/ 52 w 167"/>
                <a:gd name="T71" fmla="*/ 12 h 123"/>
                <a:gd name="T72" fmla="*/ 61 w 167"/>
                <a:gd name="T73" fmla="*/ 0 h 123"/>
                <a:gd name="T74" fmla="*/ 64 w 167"/>
                <a:gd name="T75" fmla="*/ 4 h 123"/>
                <a:gd name="T76" fmla="*/ 67 w 167"/>
                <a:gd name="T77" fmla="*/ 7 h 123"/>
                <a:gd name="T78" fmla="*/ 73 w 167"/>
                <a:gd name="T79" fmla="*/ 11 h 123"/>
                <a:gd name="T80" fmla="*/ 78 w 167"/>
                <a:gd name="T81" fmla="*/ 14 h 123"/>
                <a:gd name="T82" fmla="*/ 92 w 167"/>
                <a:gd name="T83" fmla="*/ 21 h 123"/>
                <a:gd name="T84" fmla="*/ 107 w 167"/>
                <a:gd name="T85" fmla="*/ 28 h 123"/>
                <a:gd name="T86" fmla="*/ 122 w 167"/>
                <a:gd name="T87" fmla="*/ 35 h 123"/>
                <a:gd name="T88" fmla="*/ 139 w 167"/>
                <a:gd name="T89" fmla="*/ 39 h 123"/>
                <a:gd name="T90" fmla="*/ 153 w 167"/>
                <a:gd name="T91" fmla="*/ 42 h 123"/>
                <a:gd name="T92" fmla="*/ 167 w 167"/>
                <a:gd name="T93" fmla="*/ 43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275">
              <a:extLst>
                <a:ext uri="{FF2B5EF4-FFF2-40B4-BE49-F238E27FC236}">
                  <a16:creationId xmlns="" xmlns:a16="http://schemas.microsoft.com/office/drawing/2014/main" id="{61F25833-6D1F-A340-8C30-4A7020A61BFB}"/>
                </a:ext>
              </a:extLst>
            </p:cNvPr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6157913" y="2832100"/>
              <a:ext cx="133350" cy="166688"/>
            </a:xfrm>
            <a:custGeom>
              <a:avLst/>
              <a:gdLst>
                <a:gd name="T0" fmla="*/ 259 w 306"/>
                <a:gd name="T1" fmla="*/ 160 h 321"/>
                <a:gd name="T2" fmla="*/ 252 w 306"/>
                <a:gd name="T3" fmla="*/ 173 h 321"/>
                <a:gd name="T4" fmla="*/ 243 w 306"/>
                <a:gd name="T5" fmla="*/ 182 h 321"/>
                <a:gd name="T6" fmla="*/ 233 w 306"/>
                <a:gd name="T7" fmla="*/ 186 h 321"/>
                <a:gd name="T8" fmla="*/ 223 w 306"/>
                <a:gd name="T9" fmla="*/ 184 h 321"/>
                <a:gd name="T10" fmla="*/ 214 w 306"/>
                <a:gd name="T11" fmla="*/ 178 h 321"/>
                <a:gd name="T12" fmla="*/ 209 w 306"/>
                <a:gd name="T13" fmla="*/ 169 h 321"/>
                <a:gd name="T14" fmla="*/ 206 w 306"/>
                <a:gd name="T15" fmla="*/ 160 h 321"/>
                <a:gd name="T16" fmla="*/ 209 w 306"/>
                <a:gd name="T17" fmla="*/ 148 h 321"/>
                <a:gd name="T18" fmla="*/ 213 w 306"/>
                <a:gd name="T19" fmla="*/ 136 h 321"/>
                <a:gd name="T20" fmla="*/ 230 w 306"/>
                <a:gd name="T21" fmla="*/ 114 h 321"/>
                <a:gd name="T22" fmla="*/ 246 w 306"/>
                <a:gd name="T23" fmla="*/ 93 h 321"/>
                <a:gd name="T24" fmla="*/ 250 w 306"/>
                <a:gd name="T25" fmla="*/ 82 h 321"/>
                <a:gd name="T26" fmla="*/ 253 w 306"/>
                <a:gd name="T27" fmla="*/ 69 h 321"/>
                <a:gd name="T28" fmla="*/ 129 w 306"/>
                <a:gd name="T29" fmla="*/ 68 h 321"/>
                <a:gd name="T30" fmla="*/ 119 w 306"/>
                <a:gd name="T31" fmla="*/ 59 h 321"/>
                <a:gd name="T32" fmla="*/ 112 w 306"/>
                <a:gd name="T33" fmla="*/ 45 h 321"/>
                <a:gd name="T34" fmla="*/ 108 w 306"/>
                <a:gd name="T35" fmla="*/ 28 h 321"/>
                <a:gd name="T36" fmla="*/ 101 w 306"/>
                <a:gd name="T37" fmla="*/ 19 h 321"/>
                <a:gd name="T38" fmla="*/ 90 w 306"/>
                <a:gd name="T39" fmla="*/ 17 h 321"/>
                <a:gd name="T40" fmla="*/ 80 w 306"/>
                <a:gd name="T41" fmla="*/ 12 h 321"/>
                <a:gd name="T42" fmla="*/ 75 w 306"/>
                <a:gd name="T43" fmla="*/ 4 h 321"/>
                <a:gd name="T44" fmla="*/ 65 w 306"/>
                <a:gd name="T45" fmla="*/ 0 h 321"/>
                <a:gd name="T46" fmla="*/ 49 w 306"/>
                <a:gd name="T47" fmla="*/ 0 h 321"/>
                <a:gd name="T48" fmla="*/ 34 w 306"/>
                <a:gd name="T49" fmla="*/ 1 h 321"/>
                <a:gd name="T50" fmla="*/ 22 w 306"/>
                <a:gd name="T51" fmla="*/ 5 h 321"/>
                <a:gd name="T52" fmla="*/ 10 w 306"/>
                <a:gd name="T53" fmla="*/ 14 h 321"/>
                <a:gd name="T54" fmla="*/ 1 w 306"/>
                <a:gd name="T55" fmla="*/ 25 h 321"/>
                <a:gd name="T56" fmla="*/ 2 w 306"/>
                <a:gd name="T57" fmla="*/ 35 h 321"/>
                <a:gd name="T58" fmla="*/ 15 w 306"/>
                <a:gd name="T59" fmla="*/ 46 h 321"/>
                <a:gd name="T60" fmla="*/ 35 w 306"/>
                <a:gd name="T61" fmla="*/ 58 h 321"/>
                <a:gd name="T62" fmla="*/ 54 w 306"/>
                <a:gd name="T63" fmla="*/ 67 h 321"/>
                <a:gd name="T64" fmla="*/ 47 w 306"/>
                <a:gd name="T65" fmla="*/ 79 h 321"/>
                <a:gd name="T66" fmla="*/ 25 w 306"/>
                <a:gd name="T67" fmla="*/ 97 h 321"/>
                <a:gd name="T68" fmla="*/ 17 w 306"/>
                <a:gd name="T69" fmla="*/ 107 h 321"/>
                <a:gd name="T70" fmla="*/ 14 w 306"/>
                <a:gd name="T71" fmla="*/ 114 h 321"/>
                <a:gd name="T72" fmla="*/ 14 w 306"/>
                <a:gd name="T73" fmla="*/ 122 h 321"/>
                <a:gd name="T74" fmla="*/ 18 w 306"/>
                <a:gd name="T75" fmla="*/ 129 h 321"/>
                <a:gd name="T76" fmla="*/ 28 w 306"/>
                <a:gd name="T77" fmla="*/ 141 h 321"/>
                <a:gd name="T78" fmla="*/ 47 w 306"/>
                <a:gd name="T79" fmla="*/ 156 h 321"/>
                <a:gd name="T80" fmla="*/ 64 w 306"/>
                <a:gd name="T81" fmla="*/ 164 h 321"/>
                <a:gd name="T82" fmla="*/ 75 w 306"/>
                <a:gd name="T83" fmla="*/ 166 h 321"/>
                <a:gd name="T84" fmla="*/ 107 w 306"/>
                <a:gd name="T85" fmla="*/ 271 h 321"/>
                <a:gd name="T86" fmla="*/ 108 w 306"/>
                <a:gd name="T87" fmla="*/ 263 h 321"/>
                <a:gd name="T88" fmla="*/ 112 w 306"/>
                <a:gd name="T89" fmla="*/ 256 h 321"/>
                <a:gd name="T90" fmla="*/ 127 w 306"/>
                <a:gd name="T91" fmla="*/ 246 h 321"/>
                <a:gd name="T92" fmla="*/ 148 w 306"/>
                <a:gd name="T93" fmla="*/ 240 h 321"/>
                <a:gd name="T94" fmla="*/ 174 w 306"/>
                <a:gd name="T95" fmla="*/ 235 h 321"/>
                <a:gd name="T96" fmla="*/ 174 w 306"/>
                <a:gd name="T97" fmla="*/ 210 h 321"/>
                <a:gd name="T98" fmla="*/ 183 w 306"/>
                <a:gd name="T99" fmla="*/ 212 h 321"/>
                <a:gd name="T100" fmla="*/ 193 w 306"/>
                <a:gd name="T101" fmla="*/ 212 h 321"/>
                <a:gd name="T102" fmla="*/ 213 w 306"/>
                <a:gd name="T103" fmla="*/ 210 h 321"/>
                <a:gd name="T104" fmla="*/ 232 w 306"/>
                <a:gd name="T105" fmla="*/ 261 h 321"/>
                <a:gd name="T106" fmla="*/ 259 w 306"/>
                <a:gd name="T107" fmla="*/ 321 h 321"/>
                <a:gd name="T108" fmla="*/ 272 w 306"/>
                <a:gd name="T109" fmla="*/ 311 h 321"/>
                <a:gd name="T110" fmla="*/ 282 w 306"/>
                <a:gd name="T111" fmla="*/ 302 h 321"/>
                <a:gd name="T112" fmla="*/ 295 w 306"/>
                <a:gd name="T113" fmla="*/ 280 h 321"/>
                <a:gd name="T114" fmla="*/ 306 w 306"/>
                <a:gd name="T115" fmla="*/ 235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276">
              <a:extLst>
                <a:ext uri="{FF2B5EF4-FFF2-40B4-BE49-F238E27FC236}">
                  <a16:creationId xmlns="" xmlns:a16="http://schemas.microsoft.com/office/drawing/2014/main" id="{3F751FE2-8F29-674C-97FC-2C1F96AD3B22}"/>
                </a:ext>
              </a:extLst>
            </p:cNvPr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475413" y="2947988"/>
              <a:ext cx="201612" cy="269875"/>
            </a:xfrm>
            <a:custGeom>
              <a:avLst/>
              <a:gdLst>
                <a:gd name="T0" fmla="*/ 94 w 471"/>
                <a:gd name="T1" fmla="*/ 12 h 518"/>
                <a:gd name="T2" fmla="*/ 67 w 471"/>
                <a:gd name="T3" fmla="*/ 32 h 518"/>
                <a:gd name="T4" fmla="*/ 40 w 471"/>
                <a:gd name="T5" fmla="*/ 49 h 518"/>
                <a:gd name="T6" fmla="*/ 27 w 471"/>
                <a:gd name="T7" fmla="*/ 82 h 518"/>
                <a:gd name="T8" fmla="*/ 8 w 471"/>
                <a:gd name="T9" fmla="*/ 118 h 518"/>
                <a:gd name="T10" fmla="*/ 7 w 471"/>
                <a:gd name="T11" fmla="*/ 136 h 518"/>
                <a:gd name="T12" fmla="*/ 30 w 471"/>
                <a:gd name="T13" fmla="*/ 153 h 518"/>
                <a:gd name="T14" fmla="*/ 50 w 471"/>
                <a:gd name="T15" fmla="*/ 168 h 518"/>
                <a:gd name="T16" fmla="*/ 62 w 471"/>
                <a:gd name="T17" fmla="*/ 172 h 518"/>
                <a:gd name="T18" fmla="*/ 75 w 471"/>
                <a:gd name="T19" fmla="*/ 211 h 518"/>
                <a:gd name="T20" fmla="*/ 84 w 471"/>
                <a:gd name="T21" fmla="*/ 272 h 518"/>
                <a:gd name="T22" fmla="*/ 94 w 471"/>
                <a:gd name="T23" fmla="*/ 299 h 518"/>
                <a:gd name="T24" fmla="*/ 104 w 471"/>
                <a:gd name="T25" fmla="*/ 302 h 518"/>
                <a:gd name="T26" fmla="*/ 112 w 471"/>
                <a:gd name="T27" fmla="*/ 297 h 518"/>
                <a:gd name="T28" fmla="*/ 128 w 471"/>
                <a:gd name="T29" fmla="*/ 268 h 518"/>
                <a:gd name="T30" fmla="*/ 145 w 471"/>
                <a:gd name="T31" fmla="*/ 262 h 518"/>
                <a:gd name="T32" fmla="*/ 160 w 471"/>
                <a:gd name="T33" fmla="*/ 272 h 518"/>
                <a:gd name="T34" fmla="*/ 173 w 471"/>
                <a:gd name="T35" fmla="*/ 277 h 518"/>
                <a:gd name="T36" fmla="*/ 183 w 471"/>
                <a:gd name="T37" fmla="*/ 274 h 518"/>
                <a:gd name="T38" fmla="*/ 192 w 471"/>
                <a:gd name="T39" fmla="*/ 259 h 518"/>
                <a:gd name="T40" fmla="*/ 203 w 471"/>
                <a:gd name="T41" fmla="*/ 244 h 518"/>
                <a:gd name="T42" fmla="*/ 212 w 471"/>
                <a:gd name="T43" fmla="*/ 241 h 518"/>
                <a:gd name="T44" fmla="*/ 241 w 471"/>
                <a:gd name="T45" fmla="*/ 247 h 518"/>
                <a:gd name="T46" fmla="*/ 259 w 471"/>
                <a:gd name="T47" fmla="*/ 271 h 518"/>
                <a:gd name="T48" fmla="*/ 308 w 471"/>
                <a:gd name="T49" fmla="*/ 336 h 518"/>
                <a:gd name="T50" fmla="*/ 341 w 471"/>
                <a:gd name="T51" fmla="*/ 382 h 518"/>
                <a:gd name="T52" fmla="*/ 358 w 471"/>
                <a:gd name="T53" fmla="*/ 419 h 518"/>
                <a:gd name="T54" fmla="*/ 366 w 471"/>
                <a:gd name="T55" fmla="*/ 457 h 518"/>
                <a:gd name="T56" fmla="*/ 359 w 471"/>
                <a:gd name="T57" fmla="*/ 470 h 518"/>
                <a:gd name="T58" fmla="*/ 339 w 471"/>
                <a:gd name="T59" fmla="*/ 487 h 518"/>
                <a:gd name="T60" fmla="*/ 363 w 471"/>
                <a:gd name="T61" fmla="*/ 496 h 518"/>
                <a:gd name="T62" fmla="*/ 392 w 471"/>
                <a:gd name="T63" fmla="*/ 518 h 518"/>
                <a:gd name="T64" fmla="*/ 401 w 471"/>
                <a:gd name="T65" fmla="*/ 499 h 518"/>
                <a:gd name="T66" fmla="*/ 413 w 471"/>
                <a:gd name="T67" fmla="*/ 489 h 518"/>
                <a:gd name="T68" fmla="*/ 444 w 471"/>
                <a:gd name="T69" fmla="*/ 483 h 518"/>
                <a:gd name="T70" fmla="*/ 468 w 471"/>
                <a:gd name="T71" fmla="*/ 438 h 518"/>
                <a:gd name="T72" fmla="*/ 449 w 471"/>
                <a:gd name="T73" fmla="*/ 387 h 518"/>
                <a:gd name="T74" fmla="*/ 421 w 471"/>
                <a:gd name="T75" fmla="*/ 347 h 518"/>
                <a:gd name="T76" fmla="*/ 345 w 471"/>
                <a:gd name="T77" fmla="*/ 277 h 518"/>
                <a:gd name="T78" fmla="*/ 279 w 471"/>
                <a:gd name="T79" fmla="*/ 218 h 518"/>
                <a:gd name="T80" fmla="*/ 224 w 471"/>
                <a:gd name="T81" fmla="*/ 162 h 518"/>
                <a:gd name="T82" fmla="*/ 179 w 471"/>
                <a:gd name="T83" fmla="*/ 105 h 518"/>
                <a:gd name="T84" fmla="*/ 127 w 471"/>
                <a:gd name="T85" fmla="*/ 40 h 518"/>
                <a:gd name="T86" fmla="*/ 115 w 471"/>
                <a:gd name="T87" fmla="*/ 14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277">
              <a:extLst>
                <a:ext uri="{FF2B5EF4-FFF2-40B4-BE49-F238E27FC236}">
                  <a16:creationId xmlns="" xmlns:a16="http://schemas.microsoft.com/office/drawing/2014/main" id="{3454DDA4-871D-CB4A-ADA7-560DC3660201}"/>
                </a:ext>
              </a:extLst>
            </p:cNvPr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57963" y="3198813"/>
              <a:ext cx="133350" cy="130175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278">
              <a:extLst>
                <a:ext uri="{FF2B5EF4-FFF2-40B4-BE49-F238E27FC236}">
                  <a16:creationId xmlns="" xmlns:a16="http://schemas.microsoft.com/office/drawing/2014/main" id="{7555783C-2DA1-7A40-B210-B110510A07F7}"/>
                </a:ext>
              </a:extLst>
            </p:cNvPr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959600" y="2435225"/>
              <a:ext cx="85725" cy="130175"/>
            </a:xfrm>
            <a:custGeom>
              <a:avLst/>
              <a:gdLst>
                <a:gd name="T0" fmla="*/ 18 w 200"/>
                <a:gd name="T1" fmla="*/ 41 h 246"/>
                <a:gd name="T2" fmla="*/ 28 w 200"/>
                <a:gd name="T3" fmla="*/ 26 h 246"/>
                <a:gd name="T4" fmla="*/ 38 w 200"/>
                <a:gd name="T5" fmla="*/ 16 h 246"/>
                <a:gd name="T6" fmla="*/ 50 w 200"/>
                <a:gd name="T7" fmla="*/ 9 h 246"/>
                <a:gd name="T8" fmla="*/ 73 w 200"/>
                <a:gd name="T9" fmla="*/ 1 h 246"/>
                <a:gd name="T10" fmla="*/ 88 w 200"/>
                <a:gd name="T11" fmla="*/ 12 h 246"/>
                <a:gd name="T12" fmla="*/ 108 w 200"/>
                <a:gd name="T13" fmla="*/ 34 h 246"/>
                <a:gd name="T14" fmla="*/ 125 w 200"/>
                <a:gd name="T15" fmla="*/ 50 h 246"/>
                <a:gd name="T16" fmla="*/ 139 w 200"/>
                <a:gd name="T17" fmla="*/ 58 h 246"/>
                <a:gd name="T18" fmla="*/ 152 w 200"/>
                <a:gd name="T19" fmla="*/ 64 h 246"/>
                <a:gd name="T20" fmla="*/ 166 w 200"/>
                <a:gd name="T21" fmla="*/ 67 h 246"/>
                <a:gd name="T22" fmla="*/ 184 w 200"/>
                <a:gd name="T23" fmla="*/ 96 h 246"/>
                <a:gd name="T24" fmla="*/ 195 w 200"/>
                <a:gd name="T25" fmla="*/ 137 h 246"/>
                <a:gd name="T26" fmla="*/ 199 w 200"/>
                <a:gd name="T27" fmla="*/ 165 h 246"/>
                <a:gd name="T28" fmla="*/ 200 w 200"/>
                <a:gd name="T29" fmla="*/ 185 h 246"/>
                <a:gd name="T30" fmla="*/ 198 w 200"/>
                <a:gd name="T31" fmla="*/ 197 h 246"/>
                <a:gd name="T32" fmla="*/ 195 w 200"/>
                <a:gd name="T33" fmla="*/ 207 h 246"/>
                <a:gd name="T34" fmla="*/ 189 w 200"/>
                <a:gd name="T35" fmla="*/ 214 h 246"/>
                <a:gd name="T36" fmla="*/ 179 w 200"/>
                <a:gd name="T37" fmla="*/ 220 h 246"/>
                <a:gd name="T38" fmla="*/ 164 w 200"/>
                <a:gd name="T39" fmla="*/ 224 h 246"/>
                <a:gd name="T40" fmla="*/ 140 w 200"/>
                <a:gd name="T41" fmla="*/ 224 h 246"/>
                <a:gd name="T42" fmla="*/ 118 w 200"/>
                <a:gd name="T43" fmla="*/ 229 h 246"/>
                <a:gd name="T44" fmla="*/ 111 w 200"/>
                <a:gd name="T45" fmla="*/ 235 h 246"/>
                <a:gd name="T46" fmla="*/ 108 w 200"/>
                <a:gd name="T47" fmla="*/ 242 h 246"/>
                <a:gd name="T48" fmla="*/ 98 w 200"/>
                <a:gd name="T49" fmla="*/ 245 h 246"/>
                <a:gd name="T50" fmla="*/ 85 w 200"/>
                <a:gd name="T51" fmla="*/ 240 h 246"/>
                <a:gd name="T52" fmla="*/ 77 w 200"/>
                <a:gd name="T53" fmla="*/ 230 h 246"/>
                <a:gd name="T54" fmla="*/ 73 w 200"/>
                <a:gd name="T55" fmla="*/ 216 h 246"/>
                <a:gd name="T56" fmla="*/ 72 w 200"/>
                <a:gd name="T57" fmla="*/ 192 h 246"/>
                <a:gd name="T58" fmla="*/ 71 w 200"/>
                <a:gd name="T59" fmla="*/ 168 h 246"/>
                <a:gd name="T60" fmla="*/ 69 w 200"/>
                <a:gd name="T61" fmla="*/ 154 h 246"/>
                <a:gd name="T62" fmla="*/ 64 w 200"/>
                <a:gd name="T63" fmla="*/ 142 h 246"/>
                <a:gd name="T64" fmla="*/ 56 w 200"/>
                <a:gd name="T65" fmla="*/ 134 h 246"/>
                <a:gd name="T66" fmla="*/ 40 w 200"/>
                <a:gd name="T67" fmla="*/ 125 h 246"/>
                <a:gd name="T68" fmla="*/ 18 w 200"/>
                <a:gd name="T69" fmla="*/ 115 h 246"/>
                <a:gd name="T70" fmla="*/ 6 w 200"/>
                <a:gd name="T71" fmla="*/ 106 h 246"/>
                <a:gd name="T72" fmla="*/ 1 w 200"/>
                <a:gd name="T73" fmla="*/ 98 h 246"/>
                <a:gd name="T74" fmla="*/ 1 w 200"/>
                <a:gd name="T75" fmla="*/ 87 h 246"/>
                <a:gd name="T76" fmla="*/ 5 w 200"/>
                <a:gd name="T77" fmla="*/ 78 h 246"/>
                <a:gd name="T78" fmla="*/ 10 w 200"/>
                <a:gd name="T79" fmla="*/ 68 h 246"/>
                <a:gd name="T80" fmla="*/ 13 w 200"/>
                <a:gd name="T81" fmla="*/ 56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Freeform 279">
              <a:extLst>
                <a:ext uri="{FF2B5EF4-FFF2-40B4-BE49-F238E27FC236}">
                  <a16:creationId xmlns="" xmlns:a16="http://schemas.microsoft.com/office/drawing/2014/main" id="{E953F0EB-1029-FD44-B5E0-20DCC761F0B9}"/>
                </a:ext>
              </a:extLst>
            </p:cNvPr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7527925" y="3732213"/>
              <a:ext cx="231775" cy="254000"/>
            </a:xfrm>
            <a:custGeom>
              <a:avLst/>
              <a:gdLst>
                <a:gd name="T0" fmla="*/ 91 w 538"/>
                <a:gd name="T1" fmla="*/ 21 h 487"/>
                <a:gd name="T2" fmla="*/ 160 w 538"/>
                <a:gd name="T3" fmla="*/ 47 h 487"/>
                <a:gd name="T4" fmla="*/ 202 w 538"/>
                <a:gd name="T5" fmla="*/ 70 h 487"/>
                <a:gd name="T6" fmla="*/ 253 w 538"/>
                <a:gd name="T7" fmla="*/ 110 h 487"/>
                <a:gd name="T8" fmla="*/ 300 w 538"/>
                <a:gd name="T9" fmla="*/ 136 h 487"/>
                <a:gd name="T10" fmla="*/ 299 w 538"/>
                <a:gd name="T11" fmla="*/ 161 h 487"/>
                <a:gd name="T12" fmla="*/ 347 w 538"/>
                <a:gd name="T13" fmla="*/ 205 h 487"/>
                <a:gd name="T14" fmla="*/ 393 w 538"/>
                <a:gd name="T15" fmla="*/ 248 h 487"/>
                <a:gd name="T16" fmla="*/ 379 w 538"/>
                <a:gd name="T17" fmla="*/ 250 h 487"/>
                <a:gd name="T18" fmla="*/ 372 w 538"/>
                <a:gd name="T19" fmla="*/ 256 h 487"/>
                <a:gd name="T20" fmla="*/ 372 w 538"/>
                <a:gd name="T21" fmla="*/ 278 h 487"/>
                <a:gd name="T22" fmla="*/ 377 w 538"/>
                <a:gd name="T23" fmla="*/ 301 h 487"/>
                <a:gd name="T24" fmla="*/ 389 w 538"/>
                <a:gd name="T25" fmla="*/ 325 h 487"/>
                <a:gd name="T26" fmla="*/ 407 w 538"/>
                <a:gd name="T27" fmla="*/ 348 h 487"/>
                <a:gd name="T28" fmla="*/ 428 w 538"/>
                <a:gd name="T29" fmla="*/ 366 h 487"/>
                <a:gd name="T30" fmla="*/ 451 w 538"/>
                <a:gd name="T31" fmla="*/ 376 h 487"/>
                <a:gd name="T32" fmla="*/ 461 w 538"/>
                <a:gd name="T33" fmla="*/ 390 h 487"/>
                <a:gd name="T34" fmla="*/ 472 w 538"/>
                <a:gd name="T35" fmla="*/ 406 h 487"/>
                <a:gd name="T36" fmla="*/ 489 w 538"/>
                <a:gd name="T37" fmla="*/ 417 h 487"/>
                <a:gd name="T38" fmla="*/ 513 w 538"/>
                <a:gd name="T39" fmla="*/ 432 h 487"/>
                <a:gd name="T40" fmla="*/ 518 w 538"/>
                <a:gd name="T41" fmla="*/ 444 h 487"/>
                <a:gd name="T42" fmla="*/ 525 w 538"/>
                <a:gd name="T43" fmla="*/ 450 h 487"/>
                <a:gd name="T44" fmla="*/ 538 w 538"/>
                <a:gd name="T45" fmla="*/ 456 h 487"/>
                <a:gd name="T46" fmla="*/ 534 w 538"/>
                <a:gd name="T47" fmla="*/ 472 h 487"/>
                <a:gd name="T48" fmla="*/ 519 w 538"/>
                <a:gd name="T49" fmla="*/ 484 h 487"/>
                <a:gd name="T50" fmla="*/ 490 w 538"/>
                <a:gd name="T51" fmla="*/ 487 h 487"/>
                <a:gd name="T52" fmla="*/ 448 w 538"/>
                <a:gd name="T53" fmla="*/ 480 h 487"/>
                <a:gd name="T54" fmla="*/ 414 w 538"/>
                <a:gd name="T55" fmla="*/ 466 h 487"/>
                <a:gd name="T56" fmla="*/ 386 w 538"/>
                <a:gd name="T57" fmla="*/ 446 h 487"/>
                <a:gd name="T58" fmla="*/ 355 w 538"/>
                <a:gd name="T59" fmla="*/ 415 h 487"/>
                <a:gd name="T60" fmla="*/ 312 w 538"/>
                <a:gd name="T61" fmla="*/ 365 h 487"/>
                <a:gd name="T62" fmla="*/ 274 w 538"/>
                <a:gd name="T63" fmla="*/ 330 h 487"/>
                <a:gd name="T64" fmla="*/ 246 w 538"/>
                <a:gd name="T65" fmla="*/ 316 h 487"/>
                <a:gd name="T66" fmla="*/ 212 w 538"/>
                <a:gd name="T67" fmla="*/ 309 h 487"/>
                <a:gd name="T68" fmla="*/ 180 w 538"/>
                <a:gd name="T69" fmla="*/ 310 h 487"/>
                <a:gd name="T70" fmla="*/ 153 w 538"/>
                <a:gd name="T71" fmla="*/ 317 h 487"/>
                <a:gd name="T72" fmla="*/ 113 w 538"/>
                <a:gd name="T73" fmla="*/ 345 h 487"/>
                <a:gd name="T74" fmla="*/ 136 w 538"/>
                <a:gd name="T75" fmla="*/ 361 h 487"/>
                <a:gd name="T76" fmla="*/ 140 w 538"/>
                <a:gd name="T77" fmla="*/ 370 h 487"/>
                <a:gd name="T78" fmla="*/ 124 w 538"/>
                <a:gd name="T79" fmla="*/ 401 h 487"/>
                <a:gd name="T80" fmla="*/ 113 w 538"/>
                <a:gd name="T81" fmla="*/ 414 h 487"/>
                <a:gd name="T82" fmla="*/ 47 w 538"/>
                <a:gd name="T83" fmla="*/ 403 h 487"/>
                <a:gd name="T84" fmla="*/ 20 w 538"/>
                <a:gd name="T85" fmla="*/ 259 h 487"/>
                <a:gd name="T86" fmla="*/ 20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1" name="Freeform 280">
              <a:extLst>
                <a:ext uri="{FF2B5EF4-FFF2-40B4-BE49-F238E27FC236}">
                  <a16:creationId xmlns="" xmlns:a16="http://schemas.microsoft.com/office/drawing/2014/main" id="{6DFE4714-9C74-3342-B202-FFE4A2BA52BA}"/>
                </a:ext>
              </a:extLst>
            </p:cNvPr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7720013" y="3716338"/>
              <a:ext cx="106362" cy="128587"/>
            </a:xfrm>
            <a:custGeom>
              <a:avLst/>
              <a:gdLst>
                <a:gd name="T0" fmla="*/ 136 w 253"/>
                <a:gd name="T1" fmla="*/ 1 h 246"/>
                <a:gd name="T2" fmla="*/ 157 w 253"/>
                <a:gd name="T3" fmla="*/ 8 h 246"/>
                <a:gd name="T4" fmla="*/ 179 w 253"/>
                <a:gd name="T5" fmla="*/ 21 h 246"/>
                <a:gd name="T6" fmla="*/ 199 w 253"/>
                <a:gd name="T7" fmla="*/ 37 h 246"/>
                <a:gd name="T8" fmla="*/ 218 w 253"/>
                <a:gd name="T9" fmla="*/ 57 h 246"/>
                <a:gd name="T10" fmla="*/ 234 w 253"/>
                <a:gd name="T11" fmla="*/ 76 h 246"/>
                <a:gd name="T12" fmla="*/ 245 w 253"/>
                <a:gd name="T13" fmla="*/ 94 h 246"/>
                <a:gd name="T14" fmla="*/ 252 w 253"/>
                <a:gd name="T15" fmla="*/ 111 h 246"/>
                <a:gd name="T16" fmla="*/ 252 w 253"/>
                <a:gd name="T17" fmla="*/ 128 h 246"/>
                <a:gd name="T18" fmla="*/ 243 w 253"/>
                <a:gd name="T19" fmla="*/ 151 h 246"/>
                <a:gd name="T20" fmla="*/ 229 w 253"/>
                <a:gd name="T21" fmla="*/ 174 h 246"/>
                <a:gd name="T22" fmla="*/ 209 w 253"/>
                <a:gd name="T23" fmla="*/ 195 h 246"/>
                <a:gd name="T24" fmla="*/ 184 w 253"/>
                <a:gd name="T25" fmla="*/ 214 h 246"/>
                <a:gd name="T26" fmla="*/ 157 w 253"/>
                <a:gd name="T27" fmla="*/ 229 h 246"/>
                <a:gd name="T28" fmla="*/ 129 w 253"/>
                <a:gd name="T29" fmla="*/ 240 h 246"/>
                <a:gd name="T30" fmla="*/ 100 w 253"/>
                <a:gd name="T31" fmla="*/ 245 h 246"/>
                <a:gd name="T32" fmla="*/ 74 w 253"/>
                <a:gd name="T33" fmla="*/ 245 h 246"/>
                <a:gd name="T34" fmla="*/ 53 w 253"/>
                <a:gd name="T35" fmla="*/ 240 h 246"/>
                <a:gd name="T36" fmla="*/ 33 w 253"/>
                <a:gd name="T37" fmla="*/ 234 h 246"/>
                <a:gd name="T38" fmla="*/ 11 w 253"/>
                <a:gd name="T39" fmla="*/ 229 h 246"/>
                <a:gd name="T40" fmla="*/ 3 w 253"/>
                <a:gd name="T41" fmla="*/ 219 h 246"/>
                <a:gd name="T42" fmla="*/ 10 w 253"/>
                <a:gd name="T43" fmla="*/ 205 h 246"/>
                <a:gd name="T44" fmla="*/ 22 w 253"/>
                <a:gd name="T45" fmla="*/ 196 h 246"/>
                <a:gd name="T46" fmla="*/ 37 w 253"/>
                <a:gd name="T47" fmla="*/ 191 h 246"/>
                <a:gd name="T48" fmla="*/ 50 w 253"/>
                <a:gd name="T49" fmla="*/ 197 h 246"/>
                <a:gd name="T50" fmla="*/ 60 w 253"/>
                <a:gd name="T51" fmla="*/ 207 h 246"/>
                <a:gd name="T52" fmla="*/ 68 w 253"/>
                <a:gd name="T53" fmla="*/ 201 h 246"/>
                <a:gd name="T54" fmla="*/ 75 w 253"/>
                <a:gd name="T55" fmla="*/ 190 h 246"/>
                <a:gd name="T56" fmla="*/ 84 w 253"/>
                <a:gd name="T57" fmla="*/ 180 h 246"/>
                <a:gd name="T58" fmla="*/ 91 w 253"/>
                <a:gd name="T59" fmla="*/ 181 h 246"/>
                <a:gd name="T60" fmla="*/ 98 w 253"/>
                <a:gd name="T61" fmla="*/ 179 h 246"/>
                <a:gd name="T62" fmla="*/ 106 w 253"/>
                <a:gd name="T63" fmla="*/ 178 h 246"/>
                <a:gd name="T64" fmla="*/ 120 w 253"/>
                <a:gd name="T65" fmla="*/ 174 h 246"/>
                <a:gd name="T66" fmla="*/ 149 w 253"/>
                <a:gd name="T67" fmla="*/ 164 h 246"/>
                <a:gd name="T68" fmla="*/ 179 w 253"/>
                <a:gd name="T69" fmla="*/ 147 h 246"/>
                <a:gd name="T70" fmla="*/ 197 w 253"/>
                <a:gd name="T71" fmla="*/ 135 h 246"/>
                <a:gd name="T72" fmla="*/ 210 w 253"/>
                <a:gd name="T73" fmla="*/ 123 h 246"/>
                <a:gd name="T74" fmla="*/ 218 w 253"/>
                <a:gd name="T75" fmla="*/ 111 h 246"/>
                <a:gd name="T76" fmla="*/ 219 w 253"/>
                <a:gd name="T77" fmla="*/ 98 h 246"/>
                <a:gd name="T78" fmla="*/ 214 w 253"/>
                <a:gd name="T79" fmla="*/ 88 h 246"/>
                <a:gd name="T80" fmla="*/ 210 w 253"/>
                <a:gd name="T81" fmla="*/ 80 h 246"/>
                <a:gd name="T82" fmla="*/ 207 w 253"/>
                <a:gd name="T83" fmla="*/ 72 h 246"/>
                <a:gd name="T84" fmla="*/ 201 w 253"/>
                <a:gd name="T85" fmla="*/ 67 h 246"/>
                <a:gd name="T86" fmla="*/ 191 w 253"/>
                <a:gd name="T87" fmla="*/ 65 h 246"/>
                <a:gd name="T88" fmla="*/ 184 w 253"/>
                <a:gd name="T89" fmla="*/ 61 h 246"/>
                <a:gd name="T90" fmla="*/ 180 w 253"/>
                <a:gd name="T91" fmla="*/ 54 h 246"/>
                <a:gd name="T92" fmla="*/ 140 w 253"/>
                <a:gd name="T93" fmla="*/ 49 h 246"/>
                <a:gd name="T94" fmla="*/ 136 w 253"/>
                <a:gd name="T95" fmla="*/ 44 h 246"/>
                <a:gd name="T96" fmla="*/ 136 w 253"/>
                <a:gd name="T97" fmla="*/ 36 h 246"/>
                <a:gd name="T98" fmla="*/ 140 w 253"/>
                <a:gd name="T99" fmla="*/ 18 h 246"/>
                <a:gd name="T100" fmla="*/ 110 w 253"/>
                <a:gd name="T101" fmla="*/ 11 h 246"/>
                <a:gd name="T102" fmla="*/ 97 w 253"/>
                <a:gd name="T103" fmla="*/ 12 h 246"/>
                <a:gd name="T104" fmla="*/ 86 w 253"/>
                <a:gd name="T105" fmla="*/ 18 h 246"/>
                <a:gd name="T106" fmla="*/ 104 w 253"/>
                <a:gd name="T107" fmla="*/ 5 h 246"/>
                <a:gd name="T108" fmla="*/ 113 w 253"/>
                <a:gd name="T109" fmla="*/ 1 h 246"/>
                <a:gd name="T110" fmla="*/ 12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2" name="Freeform 281">
              <a:extLst>
                <a:ext uri="{FF2B5EF4-FFF2-40B4-BE49-F238E27FC236}">
                  <a16:creationId xmlns="" xmlns:a16="http://schemas.microsoft.com/office/drawing/2014/main" id="{D263FDB6-B641-B742-BAEE-C8C28E58F07A}"/>
                </a:ext>
              </a:extLst>
            </p:cNvPr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5995988" y="3349625"/>
              <a:ext cx="63500" cy="119063"/>
            </a:xfrm>
            <a:custGeom>
              <a:avLst/>
              <a:gdLst>
                <a:gd name="T0" fmla="*/ 41 w 141"/>
                <a:gd name="T1" fmla="*/ 228 h 228"/>
                <a:gd name="T2" fmla="*/ 36 w 141"/>
                <a:gd name="T3" fmla="*/ 220 h 228"/>
                <a:gd name="T4" fmla="*/ 29 w 141"/>
                <a:gd name="T5" fmla="*/ 208 h 228"/>
                <a:gd name="T6" fmla="*/ 22 w 141"/>
                <a:gd name="T7" fmla="*/ 194 h 228"/>
                <a:gd name="T8" fmla="*/ 16 w 141"/>
                <a:gd name="T9" fmla="*/ 178 h 228"/>
                <a:gd name="T10" fmla="*/ 10 w 141"/>
                <a:gd name="T11" fmla="*/ 163 h 228"/>
                <a:gd name="T12" fmla="*/ 5 w 141"/>
                <a:gd name="T13" fmla="*/ 148 h 228"/>
                <a:gd name="T14" fmla="*/ 2 w 141"/>
                <a:gd name="T15" fmla="*/ 135 h 228"/>
                <a:gd name="T16" fmla="*/ 0 w 141"/>
                <a:gd name="T17" fmla="*/ 123 h 228"/>
                <a:gd name="T18" fmla="*/ 2 w 141"/>
                <a:gd name="T19" fmla="*/ 104 h 228"/>
                <a:gd name="T20" fmla="*/ 4 w 141"/>
                <a:gd name="T21" fmla="*/ 87 h 228"/>
                <a:gd name="T22" fmla="*/ 6 w 141"/>
                <a:gd name="T23" fmla="*/ 70 h 228"/>
                <a:gd name="T24" fmla="*/ 9 w 141"/>
                <a:gd name="T25" fmla="*/ 55 h 228"/>
                <a:gd name="T26" fmla="*/ 18 w 141"/>
                <a:gd name="T27" fmla="*/ 28 h 228"/>
                <a:gd name="T28" fmla="*/ 28 w 141"/>
                <a:gd name="T29" fmla="*/ 0 h 228"/>
                <a:gd name="T30" fmla="*/ 45 w 141"/>
                <a:gd name="T31" fmla="*/ 16 h 228"/>
                <a:gd name="T32" fmla="*/ 62 w 141"/>
                <a:gd name="T33" fmla="*/ 28 h 228"/>
                <a:gd name="T34" fmla="*/ 76 w 141"/>
                <a:gd name="T35" fmla="*/ 37 h 228"/>
                <a:gd name="T36" fmla="*/ 89 w 141"/>
                <a:gd name="T37" fmla="*/ 48 h 228"/>
                <a:gd name="T38" fmla="*/ 95 w 141"/>
                <a:gd name="T39" fmla="*/ 55 h 228"/>
                <a:gd name="T40" fmla="*/ 101 w 141"/>
                <a:gd name="T41" fmla="*/ 63 h 228"/>
                <a:gd name="T42" fmla="*/ 107 w 141"/>
                <a:gd name="T43" fmla="*/ 74 h 228"/>
                <a:gd name="T44" fmla="*/ 114 w 141"/>
                <a:gd name="T45" fmla="*/ 86 h 228"/>
                <a:gd name="T46" fmla="*/ 120 w 141"/>
                <a:gd name="T47" fmla="*/ 100 h 228"/>
                <a:gd name="T48" fmla="*/ 127 w 141"/>
                <a:gd name="T49" fmla="*/ 117 h 228"/>
                <a:gd name="T50" fmla="*/ 133 w 141"/>
                <a:gd name="T51" fmla="*/ 138 h 228"/>
                <a:gd name="T52" fmla="*/ 141 w 141"/>
                <a:gd name="T53" fmla="*/ 161 h 228"/>
                <a:gd name="T54" fmla="*/ 140 w 141"/>
                <a:gd name="T55" fmla="*/ 169 h 228"/>
                <a:gd name="T56" fmla="*/ 138 w 141"/>
                <a:gd name="T57" fmla="*/ 177 h 228"/>
                <a:gd name="T58" fmla="*/ 135 w 141"/>
                <a:gd name="T59" fmla="*/ 186 h 228"/>
                <a:gd name="T60" fmla="*/ 131 w 141"/>
                <a:gd name="T61" fmla="*/ 192 h 228"/>
                <a:gd name="T62" fmla="*/ 127 w 141"/>
                <a:gd name="T63" fmla="*/ 199 h 228"/>
                <a:gd name="T64" fmla="*/ 121 w 141"/>
                <a:gd name="T65" fmla="*/ 204 h 228"/>
                <a:gd name="T66" fmla="*/ 115 w 141"/>
                <a:gd name="T67" fmla="*/ 209 h 228"/>
                <a:gd name="T68" fmla="*/ 108 w 141"/>
                <a:gd name="T69" fmla="*/ 213 h 228"/>
                <a:gd name="T70" fmla="*/ 100 w 141"/>
                <a:gd name="T71" fmla="*/ 217 h 228"/>
                <a:gd name="T72" fmla="*/ 93 w 141"/>
                <a:gd name="T73" fmla="*/ 220 h 228"/>
                <a:gd name="T74" fmla="*/ 85 w 141"/>
                <a:gd name="T75" fmla="*/ 223 h 228"/>
                <a:gd name="T76" fmla="*/ 76 w 141"/>
                <a:gd name="T77" fmla="*/ 225 h 228"/>
                <a:gd name="T78" fmla="*/ 59 w 141"/>
                <a:gd name="T79" fmla="*/ 227 h 228"/>
                <a:gd name="T80" fmla="*/ 41 w 141"/>
                <a:gd name="T81" fmla="*/ 228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03" name="Group 282">
              <a:extLst>
                <a:ext uri="{FF2B5EF4-FFF2-40B4-BE49-F238E27FC236}">
                  <a16:creationId xmlns="" xmlns:a16="http://schemas.microsoft.com/office/drawing/2014/main" id="{15FF35ED-A91B-C348-8830-953E1C8803A4}"/>
                </a:ext>
              </a:extLst>
            </p:cNvPr>
            <p:cNvGrpSpPr>
              <a:grpSpLocks/>
            </p:cNvGrpSpPr>
            <p:nvPr>
              <p:custDataLst>
                <p:tags r:id="rId209"/>
              </p:custDataLst>
            </p:nvPr>
          </p:nvGrpSpPr>
          <p:grpSpPr bwMode="auto">
            <a:xfrm>
              <a:off x="6935788" y="3060700"/>
              <a:ext cx="233362" cy="439738"/>
              <a:chOff x="5062" y="2295"/>
              <a:chExt cx="177" cy="279"/>
            </a:xfrm>
          </p:grpSpPr>
          <p:sp>
            <p:nvSpPr>
              <p:cNvPr id="304" name="Freeform 283">
                <a:extLst>
                  <a:ext uri="{FF2B5EF4-FFF2-40B4-BE49-F238E27FC236}">
                    <a16:creationId xmlns="" xmlns:a16="http://schemas.microsoft.com/office/drawing/2014/main" id="{95410A70-AFEC-944B-9ABC-C088CD56E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5" name="Freeform 284">
                <a:extLst>
                  <a:ext uri="{FF2B5EF4-FFF2-40B4-BE49-F238E27FC236}">
                    <a16:creationId xmlns="" xmlns:a16="http://schemas.microsoft.com/office/drawing/2014/main" id="{956ED7A3-5FAB-634E-AE5C-36DE4B0688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6" name="Freeform 285">
                <a:extLst>
                  <a:ext uri="{FF2B5EF4-FFF2-40B4-BE49-F238E27FC236}">
                    <a16:creationId xmlns="" xmlns:a16="http://schemas.microsoft.com/office/drawing/2014/main" id="{21E2A2CB-6A15-5845-8E95-D7E135F25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7" name="Freeform 286">
                <a:extLst>
                  <a:ext uri="{FF2B5EF4-FFF2-40B4-BE49-F238E27FC236}">
                    <a16:creationId xmlns="" xmlns:a16="http://schemas.microsoft.com/office/drawing/2014/main" id="{AE1A5801-1925-9B4C-9884-90903C91C7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8" name="Freeform 287">
                <a:extLst>
                  <a:ext uri="{FF2B5EF4-FFF2-40B4-BE49-F238E27FC236}">
                    <a16:creationId xmlns="" xmlns:a16="http://schemas.microsoft.com/office/drawing/2014/main" id="{9EF50ED6-E06A-6E48-9A15-272C6E7654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9" name="Freeform 288">
                <a:extLst>
                  <a:ext uri="{FF2B5EF4-FFF2-40B4-BE49-F238E27FC236}">
                    <a16:creationId xmlns="" xmlns:a16="http://schemas.microsoft.com/office/drawing/2014/main" id="{B20E85EC-52C6-014A-841E-E6757B452E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0" name="Freeform 289">
                <a:extLst>
                  <a:ext uri="{FF2B5EF4-FFF2-40B4-BE49-F238E27FC236}">
                    <a16:creationId xmlns="" xmlns:a16="http://schemas.microsoft.com/office/drawing/2014/main" id="{79F129D2-4A13-0643-9BFF-98C8B65622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1" name="Freeform 290">
                <a:extLst>
                  <a:ext uri="{FF2B5EF4-FFF2-40B4-BE49-F238E27FC236}">
                    <a16:creationId xmlns="" xmlns:a16="http://schemas.microsoft.com/office/drawing/2014/main" id="{8F3BBDF1-6CAC-5C4E-A984-9E8494C75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2" name="Freeform 291">
                <a:extLst>
                  <a:ext uri="{FF2B5EF4-FFF2-40B4-BE49-F238E27FC236}">
                    <a16:creationId xmlns="" xmlns:a16="http://schemas.microsoft.com/office/drawing/2014/main" id="{6AEE5CAD-4A28-9345-BA08-263E8C159B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3" name="Freeform 292">
                <a:extLst>
                  <a:ext uri="{FF2B5EF4-FFF2-40B4-BE49-F238E27FC236}">
                    <a16:creationId xmlns="" xmlns:a16="http://schemas.microsoft.com/office/drawing/2014/main" id="{5A2AB2D1-BBEF-BF49-A079-F2B15DCD1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4" name="Freeform 293">
                <a:extLst>
                  <a:ext uri="{FF2B5EF4-FFF2-40B4-BE49-F238E27FC236}">
                    <a16:creationId xmlns="" xmlns:a16="http://schemas.microsoft.com/office/drawing/2014/main" id="{5D5BA1B8-E90C-844C-92AE-B0814CB9C0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5" name="Freeform 294">
                <a:extLst>
                  <a:ext uri="{FF2B5EF4-FFF2-40B4-BE49-F238E27FC236}">
                    <a16:creationId xmlns="" xmlns:a16="http://schemas.microsoft.com/office/drawing/2014/main" id="{53133D07-060F-D04A-9B7F-5E7DF6788E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6" name="Freeform 295">
                <a:extLst>
                  <a:ext uri="{FF2B5EF4-FFF2-40B4-BE49-F238E27FC236}">
                    <a16:creationId xmlns="" xmlns:a16="http://schemas.microsoft.com/office/drawing/2014/main" id="{1BE3B5EE-BC8A-FE4B-9E40-ED5B4C6CBE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7" name="Freeform 296">
                <a:extLst>
                  <a:ext uri="{FF2B5EF4-FFF2-40B4-BE49-F238E27FC236}">
                    <a16:creationId xmlns="" xmlns:a16="http://schemas.microsoft.com/office/drawing/2014/main" id="{A79A5335-3DA7-D24D-A15C-67EB32E5E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8" name="Freeform 297">
                <a:extLst>
                  <a:ext uri="{FF2B5EF4-FFF2-40B4-BE49-F238E27FC236}">
                    <a16:creationId xmlns="" xmlns:a16="http://schemas.microsoft.com/office/drawing/2014/main" id="{023F4F4F-8C82-D249-BDFB-A1790088B2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9" name="Line 298">
                <a:extLst>
                  <a:ext uri="{FF2B5EF4-FFF2-40B4-BE49-F238E27FC236}">
                    <a16:creationId xmlns="" xmlns:a16="http://schemas.microsoft.com/office/drawing/2014/main" id="{FB5FABE9-626A-7F40-A7B6-A45545E9B6F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0" name="Freeform 299">
                <a:extLst>
                  <a:ext uri="{FF2B5EF4-FFF2-40B4-BE49-F238E27FC236}">
                    <a16:creationId xmlns="" xmlns:a16="http://schemas.microsoft.com/office/drawing/2014/main" id="{E058E821-2B49-3242-850B-63E0FA9CA9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1" name="Line 300">
                <a:extLst>
                  <a:ext uri="{FF2B5EF4-FFF2-40B4-BE49-F238E27FC236}">
                    <a16:creationId xmlns="" xmlns:a16="http://schemas.microsoft.com/office/drawing/2014/main" id="{F96219C4-D378-364B-A374-33997135A3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2" name="Freeform 301">
                <a:extLst>
                  <a:ext uri="{FF2B5EF4-FFF2-40B4-BE49-F238E27FC236}">
                    <a16:creationId xmlns="" xmlns:a16="http://schemas.microsoft.com/office/drawing/2014/main" id="{FC74BB09-33C9-1146-A154-4084311838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3" name="Freeform 302">
                <a:extLst>
                  <a:ext uri="{FF2B5EF4-FFF2-40B4-BE49-F238E27FC236}">
                    <a16:creationId xmlns="" xmlns:a16="http://schemas.microsoft.com/office/drawing/2014/main" id="{4A047A07-8505-C740-9525-6179933C6E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0 h 1"/>
                  <a:gd name="T2" fmla="*/ 10 w 20"/>
                  <a:gd name="T3" fmla="*/ 0 h 1"/>
                  <a:gd name="T4" fmla="*/ 0 w 20"/>
                  <a:gd name="T5" fmla="*/ 0 h 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4" name="Freeform 303">
                <a:extLst>
                  <a:ext uri="{FF2B5EF4-FFF2-40B4-BE49-F238E27FC236}">
                    <a16:creationId xmlns="" xmlns:a16="http://schemas.microsoft.com/office/drawing/2014/main" id="{1C6B3B12-3C28-094E-B4A4-AF1D735CDF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5" name="Freeform 304">
                <a:extLst>
                  <a:ext uri="{FF2B5EF4-FFF2-40B4-BE49-F238E27FC236}">
                    <a16:creationId xmlns="" xmlns:a16="http://schemas.microsoft.com/office/drawing/2014/main" id="{DF8B6300-411C-E344-B739-20371835F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6" name="Freeform 305">
                <a:extLst>
                  <a:ext uri="{FF2B5EF4-FFF2-40B4-BE49-F238E27FC236}">
                    <a16:creationId xmlns="" xmlns:a16="http://schemas.microsoft.com/office/drawing/2014/main" id="{3E808A0A-1051-EC4C-9F07-20A2082CD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7" name="Line 306">
                <a:extLst>
                  <a:ext uri="{FF2B5EF4-FFF2-40B4-BE49-F238E27FC236}">
                    <a16:creationId xmlns="" xmlns:a16="http://schemas.microsoft.com/office/drawing/2014/main" id="{9404B877-AD99-6642-BC61-40C1A8D88A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28" name="Freeform 307">
              <a:extLst>
                <a:ext uri="{FF2B5EF4-FFF2-40B4-BE49-F238E27FC236}">
                  <a16:creationId xmlns="" xmlns:a16="http://schemas.microsoft.com/office/drawing/2014/main" id="{8C26CE20-6742-0F4B-B44A-4B37A70AD832}"/>
                </a:ext>
              </a:extLst>
            </p:cNvPr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280275" y="3879850"/>
              <a:ext cx="14288" cy="55563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29" name="Freeform 308">
              <a:extLst>
                <a:ext uri="{FF2B5EF4-FFF2-40B4-BE49-F238E27FC236}">
                  <a16:creationId xmlns="" xmlns:a16="http://schemas.microsoft.com/office/drawing/2014/main" id="{2D3C55C2-7B53-A347-8500-D65C3CF1C936}"/>
                </a:ext>
              </a:extLst>
            </p:cNvPr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356475" y="3819525"/>
              <a:ext cx="22225" cy="58738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0" name="Freeform 309">
              <a:extLst>
                <a:ext uri="{FF2B5EF4-FFF2-40B4-BE49-F238E27FC236}">
                  <a16:creationId xmlns="" xmlns:a16="http://schemas.microsoft.com/office/drawing/2014/main" id="{CAB23AAE-8FC1-4043-8867-2EB07242F076}"/>
                </a:ext>
              </a:extLst>
            </p:cNvPr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404100" y="3698875"/>
              <a:ext cx="23813" cy="57150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1" name="Freeform 310">
              <a:extLst>
                <a:ext uri="{FF2B5EF4-FFF2-40B4-BE49-F238E27FC236}">
                  <a16:creationId xmlns="" xmlns:a16="http://schemas.microsoft.com/office/drawing/2014/main" id="{AAC9601E-AE62-C345-829E-A9EE03189AED}"/>
                </a:ext>
              </a:extLst>
            </p:cNvPr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388225" y="3668713"/>
              <a:ext cx="25400" cy="57150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2" name="Freeform 311">
              <a:extLst>
                <a:ext uri="{FF2B5EF4-FFF2-40B4-BE49-F238E27FC236}">
                  <a16:creationId xmlns="" xmlns:a16="http://schemas.microsoft.com/office/drawing/2014/main" id="{FAF312FD-BF3D-684E-9460-3FA009AF3B3A}"/>
                </a:ext>
              </a:extLst>
            </p:cNvPr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213600" y="3565525"/>
              <a:ext cx="7938" cy="57150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3" name="Freeform 312">
              <a:extLst>
                <a:ext uri="{FF2B5EF4-FFF2-40B4-BE49-F238E27FC236}">
                  <a16:creationId xmlns="" xmlns:a16="http://schemas.microsoft.com/office/drawing/2014/main" id="{346411DD-6586-644C-A72F-1EEB67F96FD3}"/>
                </a:ext>
              </a:extLst>
            </p:cNvPr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140575" y="3700463"/>
              <a:ext cx="30163" cy="58737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4" name="Freeform 313">
              <a:extLst>
                <a:ext uri="{FF2B5EF4-FFF2-40B4-BE49-F238E27FC236}">
                  <a16:creationId xmlns="" xmlns:a16="http://schemas.microsoft.com/office/drawing/2014/main" id="{BDC524E7-72B8-594C-A868-28E30BBABA0B}"/>
                </a:ext>
              </a:extLst>
            </p:cNvPr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48513" y="3886200"/>
              <a:ext cx="19050" cy="55563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5" name="Freeform 314">
              <a:extLst>
                <a:ext uri="{FF2B5EF4-FFF2-40B4-BE49-F238E27FC236}">
                  <a16:creationId xmlns="" xmlns:a16="http://schemas.microsoft.com/office/drawing/2014/main" id="{F25BCB72-77F1-604D-8CF3-0745D7B66960}"/>
                </a:ext>
              </a:extLst>
            </p:cNvPr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7261225" y="3705225"/>
              <a:ext cx="11113" cy="57150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6" name="Freeform 315">
              <a:extLst>
                <a:ext uri="{FF2B5EF4-FFF2-40B4-BE49-F238E27FC236}">
                  <a16:creationId xmlns="" xmlns:a16="http://schemas.microsoft.com/office/drawing/2014/main" id="{783BB4D4-0250-5B42-9330-74D104D34464}"/>
                </a:ext>
              </a:extLst>
            </p:cNvPr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7121525" y="3700463"/>
              <a:ext cx="19050" cy="58737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7" name="Freeform 316">
              <a:extLst>
                <a:ext uri="{FF2B5EF4-FFF2-40B4-BE49-F238E27FC236}">
                  <a16:creationId xmlns="" xmlns:a16="http://schemas.microsoft.com/office/drawing/2014/main" id="{2A9C755C-625D-5649-A07A-D7ED933D83FD}"/>
                </a:ext>
              </a:extLst>
            </p:cNvPr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165975" y="3748088"/>
              <a:ext cx="30163" cy="57150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8" name="Freeform 317">
              <a:extLst>
                <a:ext uri="{FF2B5EF4-FFF2-40B4-BE49-F238E27FC236}">
                  <a16:creationId xmlns="" xmlns:a16="http://schemas.microsoft.com/office/drawing/2014/main" id="{9F6AD83A-1C31-994A-8B6D-5022CB5C59EB}"/>
                </a:ext>
              </a:extLst>
            </p:cNvPr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6967538" y="3951288"/>
              <a:ext cx="46037" cy="587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39" name="Freeform 318">
              <a:extLst>
                <a:ext uri="{FF2B5EF4-FFF2-40B4-BE49-F238E27FC236}">
                  <a16:creationId xmlns="" xmlns:a16="http://schemas.microsoft.com/office/drawing/2014/main" id="{84A3FD05-9B71-614D-A63F-CFD0AED75E24}"/>
                </a:ext>
              </a:extLst>
            </p:cNvPr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065963" y="3989388"/>
              <a:ext cx="14287" cy="587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0" name="Freeform 319">
              <a:extLst>
                <a:ext uri="{FF2B5EF4-FFF2-40B4-BE49-F238E27FC236}">
                  <a16:creationId xmlns="" xmlns:a16="http://schemas.microsoft.com/office/drawing/2014/main" id="{38544BFC-1467-734D-A016-6D8853EF7620}"/>
                </a:ext>
              </a:extLst>
            </p:cNvPr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6899275" y="3921125"/>
              <a:ext cx="36513" cy="55563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1" name="Freeform 320">
              <a:extLst>
                <a:ext uri="{FF2B5EF4-FFF2-40B4-BE49-F238E27FC236}">
                  <a16:creationId xmlns="" xmlns:a16="http://schemas.microsoft.com/office/drawing/2014/main" id="{DE272602-07B5-1A4D-97B8-CF2B503F4AD9}"/>
                </a:ext>
              </a:extLst>
            </p:cNvPr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6943725" y="3906838"/>
              <a:ext cx="39688" cy="55562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2" name="Freeform 321">
              <a:extLst>
                <a:ext uri="{FF2B5EF4-FFF2-40B4-BE49-F238E27FC236}">
                  <a16:creationId xmlns="" xmlns:a16="http://schemas.microsoft.com/office/drawing/2014/main" id="{46DD973E-A907-D34A-8744-FD536245B6E1}"/>
                </a:ext>
              </a:extLst>
            </p:cNvPr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996113" y="3916363"/>
              <a:ext cx="36512" cy="58737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3" name="Freeform 322">
              <a:extLst>
                <a:ext uri="{FF2B5EF4-FFF2-40B4-BE49-F238E27FC236}">
                  <a16:creationId xmlns="" xmlns:a16="http://schemas.microsoft.com/office/drawing/2014/main" id="{B666D50E-5AAB-E241-B674-FD7A91601782}"/>
                </a:ext>
              </a:extLst>
            </p:cNvPr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7048500" y="3921125"/>
              <a:ext cx="25400" cy="55563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4" name="Freeform 323">
              <a:extLst>
                <a:ext uri="{FF2B5EF4-FFF2-40B4-BE49-F238E27FC236}">
                  <a16:creationId xmlns="" xmlns:a16="http://schemas.microsoft.com/office/drawing/2014/main" id="{EB153D0F-3C77-AE41-8E90-6CFE6176C523}"/>
                </a:ext>
              </a:extLst>
            </p:cNvPr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7121525" y="3913188"/>
              <a:ext cx="1588" cy="55562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5" name="Freeform 324">
              <a:extLst>
                <a:ext uri="{FF2B5EF4-FFF2-40B4-BE49-F238E27FC236}">
                  <a16:creationId xmlns="" xmlns:a16="http://schemas.microsoft.com/office/drawing/2014/main" id="{AA60A09D-2DB1-0048-8E5A-4DB7E929C9FC}"/>
                </a:ext>
              </a:extLst>
            </p:cNvPr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6696075" y="3727450"/>
              <a:ext cx="20638" cy="587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6" name="Freeform 325">
              <a:extLst>
                <a:ext uri="{FF2B5EF4-FFF2-40B4-BE49-F238E27FC236}">
                  <a16:creationId xmlns="" xmlns:a16="http://schemas.microsoft.com/office/drawing/2014/main" id="{6790C658-8794-9A43-9C4C-2A0C4D9C27AF}"/>
                </a:ext>
              </a:extLst>
            </p:cNvPr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642100" y="3700463"/>
              <a:ext cx="30163" cy="58737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7" name="Freeform 326">
              <a:extLst>
                <a:ext uri="{FF2B5EF4-FFF2-40B4-BE49-F238E27FC236}">
                  <a16:creationId xmlns="" xmlns:a16="http://schemas.microsoft.com/office/drawing/2014/main" id="{25E7760B-2B42-0848-8747-0E3BACCCD956}"/>
                </a:ext>
              </a:extLst>
            </p:cNvPr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477000" y="3684588"/>
              <a:ext cx="7938" cy="57150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48" name="Line 327" descr="Horizontal dunkel">
              <a:extLst>
                <a:ext uri="{FF2B5EF4-FFF2-40B4-BE49-F238E27FC236}">
                  <a16:creationId xmlns="" xmlns:a16="http://schemas.microsoft.com/office/drawing/2014/main" id="{33852233-3869-1040-9134-204CC3BC0C10}"/>
                </a:ext>
              </a:extLst>
            </p:cNvPr>
            <p:cNvSpPr>
              <a:spLocks noChangeShapeType="1"/>
            </p:cNvSpPr>
            <p:nvPr>
              <p:custDataLst>
                <p:tags r:id="rId230"/>
              </p:custDataLst>
            </p:nvPr>
          </p:nvSpPr>
          <p:spPr bwMode="auto">
            <a:xfrm>
              <a:off x="6502400" y="3721100"/>
              <a:ext cx="4763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49" name="Freeform 328">
              <a:extLst>
                <a:ext uri="{FF2B5EF4-FFF2-40B4-BE49-F238E27FC236}">
                  <a16:creationId xmlns="" xmlns:a16="http://schemas.microsoft.com/office/drawing/2014/main" id="{AC73EF3C-CD46-774E-BE74-E6EEAD5C0508}"/>
                </a:ext>
              </a:extLst>
            </p:cNvPr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99225" y="3721100"/>
              <a:ext cx="7938" cy="57150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0" name="Freeform 329">
              <a:extLst>
                <a:ext uri="{FF2B5EF4-FFF2-40B4-BE49-F238E27FC236}">
                  <a16:creationId xmlns="" xmlns:a16="http://schemas.microsoft.com/office/drawing/2014/main" id="{1AC69C7F-BB13-6349-9B11-624EE685CF10}"/>
                </a:ext>
              </a:extLst>
            </p:cNvPr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00800" y="3565525"/>
              <a:ext cx="22225" cy="57150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1" name="Freeform 330">
              <a:extLst>
                <a:ext uri="{FF2B5EF4-FFF2-40B4-BE49-F238E27FC236}">
                  <a16:creationId xmlns="" xmlns:a16="http://schemas.microsoft.com/office/drawing/2014/main" id="{C8384546-7A10-7A49-8AC8-F861AB82544C}"/>
                </a:ext>
              </a:extLst>
            </p:cNvPr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929438" y="3929063"/>
              <a:ext cx="11112" cy="57150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2" name="Freeform 331">
              <a:extLst>
                <a:ext uri="{FF2B5EF4-FFF2-40B4-BE49-F238E27FC236}">
                  <a16:creationId xmlns="" xmlns:a16="http://schemas.microsoft.com/office/drawing/2014/main" id="{E96FDBD2-501E-1245-BADF-03F28FA55487}"/>
                </a:ext>
              </a:extLst>
            </p:cNvPr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7445375" y="3886200"/>
              <a:ext cx="28575" cy="55563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3" name="Freeform 332">
              <a:extLst>
                <a:ext uri="{FF2B5EF4-FFF2-40B4-BE49-F238E27FC236}">
                  <a16:creationId xmlns="" xmlns:a16="http://schemas.microsoft.com/office/drawing/2014/main" id="{7E638687-01E9-4E4A-9DC9-888844BE3D88}"/>
                </a:ext>
              </a:extLst>
            </p:cNvPr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6383338" y="3468688"/>
              <a:ext cx="274637" cy="368300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4" name="Freeform 333">
              <a:extLst>
                <a:ext uri="{FF2B5EF4-FFF2-40B4-BE49-F238E27FC236}">
                  <a16:creationId xmlns="" xmlns:a16="http://schemas.microsoft.com/office/drawing/2014/main" id="{309B7540-BF3F-2A4E-886C-4EBDCC6E75EC}"/>
                </a:ext>
              </a:extLst>
            </p:cNvPr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724650" y="3517900"/>
              <a:ext cx="254000" cy="257175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5" name="Freeform 334">
              <a:extLst>
                <a:ext uri="{FF2B5EF4-FFF2-40B4-BE49-F238E27FC236}">
                  <a16:creationId xmlns="" xmlns:a16="http://schemas.microsoft.com/office/drawing/2014/main" id="{22AF2540-2961-8E47-9F5F-0A5CC493A755}"/>
                </a:ext>
              </a:extLst>
            </p:cNvPr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7080250" y="3924300"/>
              <a:ext cx="92075" cy="57150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6" name="Freeform 335">
              <a:extLst>
                <a:ext uri="{FF2B5EF4-FFF2-40B4-BE49-F238E27FC236}">
                  <a16:creationId xmlns="" xmlns:a16="http://schemas.microsoft.com/office/drawing/2014/main" id="{E42CD924-25AF-B34C-AABF-5472910429EB}"/>
                </a:ext>
              </a:extLst>
            </p:cNvPr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7196138" y="3590925"/>
              <a:ext cx="42862" cy="889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7" name="Freeform 336">
              <a:extLst>
                <a:ext uri="{FF2B5EF4-FFF2-40B4-BE49-F238E27FC236}">
                  <a16:creationId xmlns="" xmlns:a16="http://schemas.microsoft.com/office/drawing/2014/main" id="{C2E1B380-8151-C54C-89D4-6E90D008B6DA}"/>
                </a:ext>
              </a:extLst>
            </p:cNvPr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7208838" y="3735388"/>
              <a:ext cx="71437" cy="55562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337">
              <a:extLst>
                <a:ext uri="{FF2B5EF4-FFF2-40B4-BE49-F238E27FC236}">
                  <a16:creationId xmlns="" xmlns:a16="http://schemas.microsoft.com/office/drawing/2014/main" id="{6FBCC8A4-1C28-3E40-9BF7-63431158EDCD}"/>
                </a:ext>
              </a:extLst>
            </p:cNvPr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7285038" y="3659188"/>
              <a:ext cx="85725" cy="63500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338">
              <a:extLst>
                <a:ext uri="{FF2B5EF4-FFF2-40B4-BE49-F238E27FC236}">
                  <a16:creationId xmlns="" xmlns:a16="http://schemas.microsoft.com/office/drawing/2014/main" id="{3E1E5BA8-59EC-704A-B500-B48383371AC3}"/>
                </a:ext>
              </a:extLst>
            </p:cNvPr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973888" y="3597275"/>
              <a:ext cx="166687" cy="230188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0" name="Freeform 339">
              <a:extLst>
                <a:ext uri="{FF2B5EF4-FFF2-40B4-BE49-F238E27FC236}">
                  <a16:creationId xmlns="" xmlns:a16="http://schemas.microsoft.com/office/drawing/2014/main" id="{1AFA54BB-23B4-2447-8638-502B7CF6445E}"/>
                </a:ext>
              </a:extLst>
            </p:cNvPr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638925" y="3838575"/>
              <a:ext cx="250825" cy="95250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1" name="Freeform 340">
              <a:extLst>
                <a:ext uri="{FF2B5EF4-FFF2-40B4-BE49-F238E27FC236}">
                  <a16:creationId xmlns="" xmlns:a16="http://schemas.microsoft.com/office/drawing/2014/main" id="{7CA66EC5-3C5D-E943-B08A-98EEB43DA542}"/>
                </a:ext>
              </a:extLst>
            </p:cNvPr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7319963" y="3695700"/>
              <a:ext cx="214312" cy="252413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2" name="Freeform 341">
              <a:extLst>
                <a:ext uri="{FF2B5EF4-FFF2-40B4-BE49-F238E27FC236}">
                  <a16:creationId xmlns="" xmlns:a16="http://schemas.microsoft.com/office/drawing/2014/main" id="{409247C0-035A-9344-97FF-34D81AD920EF}"/>
                </a:ext>
              </a:extLst>
            </p:cNvPr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5851525" y="2527300"/>
              <a:ext cx="53975" cy="60325"/>
            </a:xfrm>
            <a:custGeom>
              <a:avLst/>
              <a:gdLst>
                <a:gd name="T0" fmla="*/ 0 w 133"/>
                <a:gd name="T1" fmla="*/ 19 h 117"/>
                <a:gd name="T2" fmla="*/ 72 w 133"/>
                <a:gd name="T3" fmla="*/ 0 h 117"/>
                <a:gd name="T4" fmla="*/ 81 w 133"/>
                <a:gd name="T5" fmla="*/ 6 h 117"/>
                <a:gd name="T6" fmla="*/ 91 w 133"/>
                <a:gd name="T7" fmla="*/ 14 h 117"/>
                <a:gd name="T8" fmla="*/ 101 w 133"/>
                <a:gd name="T9" fmla="*/ 25 h 117"/>
                <a:gd name="T10" fmla="*/ 109 w 133"/>
                <a:gd name="T11" fmla="*/ 37 h 117"/>
                <a:gd name="T12" fmla="*/ 118 w 133"/>
                <a:gd name="T13" fmla="*/ 49 h 117"/>
                <a:gd name="T14" fmla="*/ 126 w 133"/>
                <a:gd name="T15" fmla="*/ 62 h 117"/>
                <a:gd name="T16" fmla="*/ 128 w 133"/>
                <a:gd name="T17" fmla="*/ 68 h 117"/>
                <a:gd name="T18" fmla="*/ 130 w 133"/>
                <a:gd name="T19" fmla="*/ 74 h 117"/>
                <a:gd name="T20" fmla="*/ 131 w 133"/>
                <a:gd name="T21" fmla="*/ 80 h 117"/>
                <a:gd name="T22" fmla="*/ 133 w 133"/>
                <a:gd name="T23" fmla="*/ 86 h 117"/>
                <a:gd name="T24" fmla="*/ 131 w 133"/>
                <a:gd name="T25" fmla="*/ 92 h 117"/>
                <a:gd name="T26" fmla="*/ 128 w 133"/>
                <a:gd name="T27" fmla="*/ 97 h 117"/>
                <a:gd name="T28" fmla="*/ 124 w 133"/>
                <a:gd name="T29" fmla="*/ 102 h 117"/>
                <a:gd name="T30" fmla="*/ 118 w 133"/>
                <a:gd name="T31" fmla="*/ 107 h 117"/>
                <a:gd name="T32" fmla="*/ 113 w 133"/>
                <a:gd name="T33" fmla="*/ 111 h 117"/>
                <a:gd name="T34" fmla="*/ 107 w 133"/>
                <a:gd name="T35" fmla="*/ 114 h 117"/>
                <a:gd name="T36" fmla="*/ 103 w 133"/>
                <a:gd name="T37" fmla="*/ 117 h 117"/>
                <a:gd name="T38" fmla="*/ 100 w 133"/>
                <a:gd name="T39" fmla="*/ 117 h 117"/>
                <a:gd name="T40" fmla="*/ 72 w 133"/>
                <a:gd name="T41" fmla="*/ 95 h 117"/>
                <a:gd name="T42" fmla="*/ 45 w 133"/>
                <a:gd name="T43" fmla="*/ 70 h 117"/>
                <a:gd name="T44" fmla="*/ 32 w 133"/>
                <a:gd name="T45" fmla="*/ 58 h 117"/>
                <a:gd name="T46" fmla="*/ 18 w 133"/>
                <a:gd name="T47" fmla="*/ 46 h 117"/>
                <a:gd name="T48" fmla="*/ 8 w 133"/>
                <a:gd name="T49" fmla="*/ 33 h 117"/>
                <a:gd name="T50" fmla="*/ 0 w 133"/>
                <a:gd name="T51" fmla="*/ 19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3" name="Freeform 342">
              <a:extLst>
                <a:ext uri="{FF2B5EF4-FFF2-40B4-BE49-F238E27FC236}">
                  <a16:creationId xmlns="" xmlns:a16="http://schemas.microsoft.com/office/drawing/2014/main" id="{FB7D153F-684B-9D40-95B4-29BFC65402F1}"/>
                </a:ext>
              </a:extLst>
            </p:cNvPr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4308475" y="1931988"/>
              <a:ext cx="220663" cy="177800"/>
            </a:xfrm>
            <a:custGeom>
              <a:avLst/>
              <a:gdLst>
                <a:gd name="T0" fmla="*/ 272 w 505"/>
                <a:gd name="T1" fmla="*/ 36 h 339"/>
                <a:gd name="T2" fmla="*/ 484 w 505"/>
                <a:gd name="T3" fmla="*/ 86 h 339"/>
                <a:gd name="T4" fmla="*/ 478 w 505"/>
                <a:gd name="T5" fmla="*/ 109 h 339"/>
                <a:gd name="T6" fmla="*/ 471 w 505"/>
                <a:gd name="T7" fmla="*/ 129 h 339"/>
                <a:gd name="T8" fmla="*/ 461 w 505"/>
                <a:gd name="T9" fmla="*/ 145 h 339"/>
                <a:gd name="T10" fmla="*/ 451 w 505"/>
                <a:gd name="T11" fmla="*/ 153 h 339"/>
                <a:gd name="T12" fmla="*/ 461 w 505"/>
                <a:gd name="T13" fmla="*/ 184 h 339"/>
                <a:gd name="T14" fmla="*/ 477 w 505"/>
                <a:gd name="T15" fmla="*/ 215 h 339"/>
                <a:gd name="T16" fmla="*/ 505 w 505"/>
                <a:gd name="T17" fmla="*/ 258 h 339"/>
                <a:gd name="T18" fmla="*/ 493 w 505"/>
                <a:gd name="T19" fmla="*/ 271 h 339"/>
                <a:gd name="T20" fmla="*/ 479 w 505"/>
                <a:gd name="T21" fmla="*/ 292 h 339"/>
                <a:gd name="T22" fmla="*/ 468 w 505"/>
                <a:gd name="T23" fmla="*/ 314 h 339"/>
                <a:gd name="T24" fmla="*/ 464 w 505"/>
                <a:gd name="T25" fmla="*/ 339 h 339"/>
                <a:gd name="T26" fmla="*/ 443 w 505"/>
                <a:gd name="T27" fmla="*/ 338 h 339"/>
                <a:gd name="T28" fmla="*/ 414 w 505"/>
                <a:gd name="T29" fmla="*/ 335 h 339"/>
                <a:gd name="T30" fmla="*/ 385 w 505"/>
                <a:gd name="T31" fmla="*/ 331 h 339"/>
                <a:gd name="T32" fmla="*/ 358 w 505"/>
                <a:gd name="T33" fmla="*/ 326 h 339"/>
                <a:gd name="T34" fmla="*/ 304 w 505"/>
                <a:gd name="T35" fmla="*/ 325 h 339"/>
                <a:gd name="T36" fmla="*/ 264 w 505"/>
                <a:gd name="T37" fmla="*/ 321 h 339"/>
                <a:gd name="T38" fmla="*/ 248 w 505"/>
                <a:gd name="T39" fmla="*/ 317 h 339"/>
                <a:gd name="T40" fmla="*/ 232 w 505"/>
                <a:gd name="T41" fmla="*/ 310 h 339"/>
                <a:gd name="T42" fmla="*/ 213 w 505"/>
                <a:gd name="T43" fmla="*/ 300 h 339"/>
                <a:gd name="T44" fmla="*/ 180 w 505"/>
                <a:gd name="T45" fmla="*/ 289 h 339"/>
                <a:gd name="T46" fmla="*/ 146 w 505"/>
                <a:gd name="T47" fmla="*/ 273 h 339"/>
                <a:gd name="T48" fmla="*/ 98 w 505"/>
                <a:gd name="T49" fmla="*/ 249 h 339"/>
                <a:gd name="T50" fmla="*/ 62 w 505"/>
                <a:gd name="T51" fmla="*/ 206 h 339"/>
                <a:gd name="T52" fmla="*/ 52 w 505"/>
                <a:gd name="T53" fmla="*/ 169 h 339"/>
                <a:gd name="T54" fmla="*/ 36 w 505"/>
                <a:gd name="T55" fmla="*/ 124 h 339"/>
                <a:gd name="T56" fmla="*/ 15 w 505"/>
                <a:gd name="T57" fmla="*/ 83 h 339"/>
                <a:gd name="T58" fmla="*/ 2 w 505"/>
                <a:gd name="T59" fmla="*/ 64 h 339"/>
                <a:gd name="T60" fmla="*/ 5 w 505"/>
                <a:gd name="T61" fmla="*/ 61 h 339"/>
                <a:gd name="T62" fmla="*/ 11 w 505"/>
                <a:gd name="T63" fmla="*/ 56 h 339"/>
                <a:gd name="T64" fmla="*/ 11 w 505"/>
                <a:gd name="T65" fmla="*/ 48 h 339"/>
                <a:gd name="T66" fmla="*/ 11 w 505"/>
                <a:gd name="T67" fmla="*/ 43 h 339"/>
                <a:gd name="T68" fmla="*/ 34 w 505"/>
                <a:gd name="T69" fmla="*/ 34 h 339"/>
                <a:gd name="T70" fmla="*/ 73 w 505"/>
                <a:gd name="T71" fmla="*/ 22 h 339"/>
                <a:gd name="T72" fmla="*/ 128 w 505"/>
                <a:gd name="T73" fmla="*/ 8 h 339"/>
                <a:gd name="T74" fmla="*/ 173 w 505"/>
                <a:gd name="T75" fmla="*/ 11 h 339"/>
                <a:gd name="T76" fmla="*/ 188 w 505"/>
                <a:gd name="T77" fmla="*/ 28 h 339"/>
                <a:gd name="T78" fmla="*/ 201 w 505"/>
                <a:gd name="T79" fmla="*/ 35 h 339"/>
                <a:gd name="T80" fmla="*/ 219 w 505"/>
                <a:gd name="T81" fmla="*/ 36 h 339"/>
                <a:gd name="T82" fmla="*/ 239 w 505"/>
                <a:gd name="T83" fmla="*/ 36 h 339"/>
                <a:gd name="T84" fmla="*/ 259 w 505"/>
                <a:gd name="T85" fmla="*/ 24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Freeform 343">
              <a:extLst>
                <a:ext uri="{FF2B5EF4-FFF2-40B4-BE49-F238E27FC236}">
                  <a16:creationId xmlns="" xmlns:a16="http://schemas.microsoft.com/office/drawing/2014/main" id="{4476580F-DBFD-814D-A5EC-93289C6602AF}"/>
                </a:ext>
              </a:extLst>
            </p:cNvPr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4371975" y="2136775"/>
              <a:ext cx="146050" cy="71438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344">
              <a:extLst>
                <a:ext uri="{FF2B5EF4-FFF2-40B4-BE49-F238E27FC236}">
                  <a16:creationId xmlns="" xmlns:a16="http://schemas.microsoft.com/office/drawing/2014/main" id="{BB1A6709-3DE8-A74B-967C-B27A0B0F1FE4}"/>
                </a:ext>
              </a:extLst>
            </p:cNvPr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4471988" y="1792288"/>
              <a:ext cx="111125" cy="65087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345">
              <a:extLst>
                <a:ext uri="{FF2B5EF4-FFF2-40B4-BE49-F238E27FC236}">
                  <a16:creationId xmlns="" xmlns:a16="http://schemas.microsoft.com/office/drawing/2014/main" id="{58A40D48-7FDF-5A42-9B87-781CCF0AD4A2}"/>
                </a:ext>
              </a:extLst>
            </p:cNvPr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4484688" y="2139950"/>
              <a:ext cx="179387" cy="142875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346">
              <a:extLst>
                <a:ext uri="{FF2B5EF4-FFF2-40B4-BE49-F238E27FC236}">
                  <a16:creationId xmlns="" xmlns:a16="http://schemas.microsoft.com/office/drawing/2014/main" id="{80A417BF-304D-C84F-9D25-92920D0120A4}"/>
                </a:ext>
              </a:extLst>
            </p:cNvPr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484438" y="3178175"/>
              <a:ext cx="14287" cy="55563"/>
            </a:xfrm>
            <a:custGeom>
              <a:avLst/>
              <a:gdLst>
                <a:gd name="T0" fmla="*/ 13 w 33"/>
                <a:gd name="T1" fmla="*/ 6 h 31"/>
                <a:gd name="T2" fmla="*/ 0 w 33"/>
                <a:gd name="T3" fmla="*/ 19 h 31"/>
                <a:gd name="T4" fmla="*/ 5 w 33"/>
                <a:gd name="T5" fmla="*/ 21 h 31"/>
                <a:gd name="T6" fmla="*/ 14 w 33"/>
                <a:gd name="T7" fmla="*/ 25 h 31"/>
                <a:gd name="T8" fmla="*/ 19 w 33"/>
                <a:gd name="T9" fmla="*/ 27 h 31"/>
                <a:gd name="T10" fmla="*/ 23 w 33"/>
                <a:gd name="T11" fmla="*/ 29 h 31"/>
                <a:gd name="T12" fmla="*/ 27 w 33"/>
                <a:gd name="T13" fmla="*/ 30 h 31"/>
                <a:gd name="T14" fmla="*/ 33 w 33"/>
                <a:gd name="T15" fmla="*/ 31 h 31"/>
                <a:gd name="T16" fmla="*/ 33 w 33"/>
                <a:gd name="T17" fmla="*/ 0 h 31"/>
                <a:gd name="T18" fmla="*/ 20 w 33"/>
                <a:gd name="T19" fmla="*/ 0 h 31"/>
                <a:gd name="T20" fmla="*/ 13 w 33"/>
                <a:gd name="T21" fmla="*/ 6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Freeform 347">
              <a:extLst>
                <a:ext uri="{FF2B5EF4-FFF2-40B4-BE49-F238E27FC236}">
                  <a16:creationId xmlns="" xmlns:a16="http://schemas.microsoft.com/office/drawing/2014/main" id="{430719A3-4A9F-BF4F-826E-9152E3FE7C7F}"/>
                </a:ext>
              </a:extLst>
            </p:cNvPr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589463" y="2132013"/>
              <a:ext cx="85725" cy="79375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348">
              <a:extLst>
                <a:ext uri="{FF2B5EF4-FFF2-40B4-BE49-F238E27FC236}">
                  <a16:creationId xmlns="" xmlns:a16="http://schemas.microsoft.com/office/drawing/2014/main" id="{C5D81456-ECC1-C343-A8C8-6237B43E9E23}"/>
                </a:ext>
              </a:extLst>
            </p:cNvPr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4506913" y="2014538"/>
              <a:ext cx="381000" cy="247650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349">
              <a:extLst>
                <a:ext uri="{FF2B5EF4-FFF2-40B4-BE49-F238E27FC236}">
                  <a16:creationId xmlns="" xmlns:a16="http://schemas.microsoft.com/office/drawing/2014/main" id="{374E19BA-420A-5842-B938-2C0D95EB647F}"/>
                </a:ext>
              </a:extLst>
            </p:cNvPr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5018088" y="2357438"/>
              <a:ext cx="47625" cy="63500"/>
            </a:xfrm>
            <a:custGeom>
              <a:avLst/>
              <a:gdLst>
                <a:gd name="T0" fmla="*/ 48 w 107"/>
                <a:gd name="T1" fmla="*/ 0 h 123"/>
                <a:gd name="T2" fmla="*/ 81 w 107"/>
                <a:gd name="T3" fmla="*/ 31 h 123"/>
                <a:gd name="T4" fmla="*/ 94 w 107"/>
                <a:gd name="T5" fmla="*/ 67 h 123"/>
                <a:gd name="T6" fmla="*/ 107 w 107"/>
                <a:gd name="T7" fmla="*/ 86 h 123"/>
                <a:gd name="T8" fmla="*/ 107 w 107"/>
                <a:gd name="T9" fmla="*/ 117 h 123"/>
                <a:gd name="T10" fmla="*/ 107 w 107"/>
                <a:gd name="T11" fmla="*/ 123 h 123"/>
                <a:gd name="T12" fmla="*/ 88 w 107"/>
                <a:gd name="T13" fmla="*/ 114 h 123"/>
                <a:gd name="T14" fmla="*/ 73 w 107"/>
                <a:gd name="T15" fmla="*/ 105 h 123"/>
                <a:gd name="T16" fmla="*/ 61 w 107"/>
                <a:gd name="T17" fmla="*/ 98 h 123"/>
                <a:gd name="T18" fmla="*/ 54 w 107"/>
                <a:gd name="T19" fmla="*/ 92 h 123"/>
                <a:gd name="T20" fmla="*/ 51 w 107"/>
                <a:gd name="T21" fmla="*/ 83 h 123"/>
                <a:gd name="T22" fmla="*/ 48 w 107"/>
                <a:gd name="T23" fmla="*/ 73 h 123"/>
                <a:gd name="T24" fmla="*/ 39 w 107"/>
                <a:gd name="T25" fmla="*/ 74 h 123"/>
                <a:gd name="T26" fmla="*/ 32 w 107"/>
                <a:gd name="T27" fmla="*/ 73 h 123"/>
                <a:gd name="T28" fmla="*/ 26 w 107"/>
                <a:gd name="T29" fmla="*/ 72 h 123"/>
                <a:gd name="T30" fmla="*/ 21 w 107"/>
                <a:gd name="T31" fmla="*/ 70 h 123"/>
                <a:gd name="T32" fmla="*/ 17 w 107"/>
                <a:gd name="T33" fmla="*/ 67 h 123"/>
                <a:gd name="T34" fmla="*/ 14 w 107"/>
                <a:gd name="T35" fmla="*/ 63 h 123"/>
                <a:gd name="T36" fmla="*/ 11 w 107"/>
                <a:gd name="T37" fmla="*/ 59 h 123"/>
                <a:gd name="T38" fmla="*/ 9 w 107"/>
                <a:gd name="T39" fmla="*/ 54 h 123"/>
                <a:gd name="T40" fmla="*/ 4 w 107"/>
                <a:gd name="T41" fmla="*/ 31 h 123"/>
                <a:gd name="T42" fmla="*/ 0 w 107"/>
                <a:gd name="T43" fmla="*/ 6 h 123"/>
                <a:gd name="T44" fmla="*/ 34 w 107"/>
                <a:gd name="T45" fmla="*/ 0 h 123"/>
                <a:gd name="T46" fmla="*/ 48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350">
              <a:extLst>
                <a:ext uri="{FF2B5EF4-FFF2-40B4-BE49-F238E27FC236}">
                  <a16:creationId xmlns="" xmlns:a16="http://schemas.microsoft.com/office/drawing/2014/main" id="{DF1C33BE-5CB2-6245-8996-9B16CEA56112}"/>
                </a:ext>
              </a:extLst>
            </p:cNvPr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5561013" y="2371725"/>
              <a:ext cx="207962" cy="122238"/>
            </a:xfrm>
            <a:custGeom>
              <a:avLst/>
              <a:gdLst>
                <a:gd name="T0" fmla="*/ 106 w 471"/>
                <a:gd name="T1" fmla="*/ 67 h 234"/>
                <a:gd name="T2" fmla="*/ 166 w 471"/>
                <a:gd name="T3" fmla="*/ 86 h 234"/>
                <a:gd name="T4" fmla="*/ 272 w 471"/>
                <a:gd name="T5" fmla="*/ 105 h 234"/>
                <a:gd name="T6" fmla="*/ 372 w 471"/>
                <a:gd name="T7" fmla="*/ 86 h 234"/>
                <a:gd name="T8" fmla="*/ 383 w 471"/>
                <a:gd name="T9" fmla="*/ 95 h 234"/>
                <a:gd name="T10" fmla="*/ 391 w 471"/>
                <a:gd name="T11" fmla="*/ 114 h 234"/>
                <a:gd name="T12" fmla="*/ 406 w 471"/>
                <a:gd name="T13" fmla="*/ 124 h 234"/>
                <a:gd name="T14" fmla="*/ 424 w 471"/>
                <a:gd name="T15" fmla="*/ 129 h 234"/>
                <a:gd name="T16" fmla="*/ 433 w 471"/>
                <a:gd name="T17" fmla="*/ 134 h 234"/>
                <a:gd name="T18" fmla="*/ 441 w 471"/>
                <a:gd name="T19" fmla="*/ 141 h 234"/>
                <a:gd name="T20" fmla="*/ 448 w 471"/>
                <a:gd name="T21" fmla="*/ 151 h 234"/>
                <a:gd name="T22" fmla="*/ 455 w 471"/>
                <a:gd name="T23" fmla="*/ 170 h 234"/>
                <a:gd name="T24" fmla="*/ 471 w 471"/>
                <a:gd name="T25" fmla="*/ 190 h 234"/>
                <a:gd name="T26" fmla="*/ 350 w 471"/>
                <a:gd name="T27" fmla="*/ 202 h 234"/>
                <a:gd name="T28" fmla="*/ 330 w 471"/>
                <a:gd name="T29" fmla="*/ 224 h 234"/>
                <a:gd name="T30" fmla="*/ 317 w 471"/>
                <a:gd name="T31" fmla="*/ 233 h 234"/>
                <a:gd name="T32" fmla="*/ 306 w 471"/>
                <a:gd name="T33" fmla="*/ 233 h 234"/>
                <a:gd name="T34" fmla="*/ 298 w 471"/>
                <a:gd name="T35" fmla="*/ 230 h 234"/>
                <a:gd name="T36" fmla="*/ 292 w 471"/>
                <a:gd name="T37" fmla="*/ 224 h 234"/>
                <a:gd name="T38" fmla="*/ 289 w 471"/>
                <a:gd name="T39" fmla="*/ 216 h 234"/>
                <a:gd name="T40" fmla="*/ 284 w 471"/>
                <a:gd name="T41" fmla="*/ 199 h 234"/>
                <a:gd name="T42" fmla="*/ 278 w 471"/>
                <a:gd name="T43" fmla="*/ 174 h 234"/>
                <a:gd name="T44" fmla="*/ 269 w 471"/>
                <a:gd name="T45" fmla="*/ 155 h 234"/>
                <a:gd name="T46" fmla="*/ 258 w 471"/>
                <a:gd name="T47" fmla="*/ 148 h 234"/>
                <a:gd name="T48" fmla="*/ 246 w 471"/>
                <a:gd name="T49" fmla="*/ 141 h 234"/>
                <a:gd name="T50" fmla="*/ 236 w 471"/>
                <a:gd name="T51" fmla="*/ 133 h 234"/>
                <a:gd name="T52" fmla="*/ 224 w 471"/>
                <a:gd name="T53" fmla="*/ 140 h 234"/>
                <a:gd name="T54" fmla="*/ 207 w 471"/>
                <a:gd name="T55" fmla="*/ 162 h 234"/>
                <a:gd name="T56" fmla="*/ 200 w 471"/>
                <a:gd name="T57" fmla="*/ 177 h 234"/>
                <a:gd name="T58" fmla="*/ 188 w 471"/>
                <a:gd name="T59" fmla="*/ 190 h 234"/>
                <a:gd name="T60" fmla="*/ 167 w 471"/>
                <a:gd name="T61" fmla="*/ 201 h 234"/>
                <a:gd name="T62" fmla="*/ 147 w 471"/>
                <a:gd name="T63" fmla="*/ 213 h 234"/>
                <a:gd name="T64" fmla="*/ 130 w 471"/>
                <a:gd name="T65" fmla="*/ 219 h 234"/>
                <a:gd name="T66" fmla="*/ 114 w 471"/>
                <a:gd name="T67" fmla="*/ 222 h 234"/>
                <a:gd name="T68" fmla="*/ 97 w 471"/>
                <a:gd name="T69" fmla="*/ 221 h 234"/>
                <a:gd name="T70" fmla="*/ 82 w 471"/>
                <a:gd name="T71" fmla="*/ 217 h 234"/>
                <a:gd name="T72" fmla="*/ 63 w 471"/>
                <a:gd name="T73" fmla="*/ 205 h 234"/>
                <a:gd name="T74" fmla="*/ 59 w 471"/>
                <a:gd name="T75" fmla="*/ 197 h 234"/>
                <a:gd name="T76" fmla="*/ 59 w 471"/>
                <a:gd name="T77" fmla="*/ 135 h 234"/>
                <a:gd name="T78" fmla="*/ 0 w 471"/>
                <a:gd name="T79" fmla="*/ 98 h 234"/>
                <a:gd name="T80" fmla="*/ 53 w 471"/>
                <a:gd name="T81" fmla="*/ 80 h 234"/>
                <a:gd name="T82" fmla="*/ 86 w 471"/>
                <a:gd name="T83" fmla="*/ 30 h 234"/>
                <a:gd name="T84" fmla="*/ 133 w 471"/>
                <a:gd name="T85" fmla="*/ 0 h 234"/>
                <a:gd name="T86" fmla="*/ 166 w 471"/>
                <a:gd name="T87" fmla="*/ 42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351">
              <a:extLst>
                <a:ext uri="{FF2B5EF4-FFF2-40B4-BE49-F238E27FC236}">
                  <a16:creationId xmlns="" xmlns:a16="http://schemas.microsoft.com/office/drawing/2014/main" id="{AF66C7C2-D9AC-C845-86AC-FD573C90A09F}"/>
                </a:ext>
              </a:extLst>
            </p:cNvPr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5610225" y="2300288"/>
              <a:ext cx="225425" cy="125412"/>
            </a:xfrm>
            <a:custGeom>
              <a:avLst/>
              <a:gdLst>
                <a:gd name="T0" fmla="*/ 106 w 525"/>
                <a:gd name="T1" fmla="*/ 185 h 241"/>
                <a:gd name="T2" fmla="*/ 173 w 525"/>
                <a:gd name="T3" fmla="*/ 148 h 241"/>
                <a:gd name="T4" fmla="*/ 93 w 525"/>
                <a:gd name="T5" fmla="*/ 105 h 241"/>
                <a:gd name="T6" fmla="*/ 47 w 525"/>
                <a:gd name="T7" fmla="*/ 117 h 241"/>
                <a:gd name="T8" fmla="*/ 66 w 525"/>
                <a:gd name="T9" fmla="*/ 61 h 241"/>
                <a:gd name="T10" fmla="*/ 40 w 525"/>
                <a:gd name="T11" fmla="*/ 43 h 241"/>
                <a:gd name="T12" fmla="*/ 112 w 525"/>
                <a:gd name="T13" fmla="*/ 25 h 241"/>
                <a:gd name="T14" fmla="*/ 186 w 525"/>
                <a:gd name="T15" fmla="*/ 0 h 241"/>
                <a:gd name="T16" fmla="*/ 312 w 525"/>
                <a:gd name="T17" fmla="*/ 19 h 241"/>
                <a:gd name="T18" fmla="*/ 439 w 525"/>
                <a:gd name="T19" fmla="*/ 25 h 241"/>
                <a:gd name="T20" fmla="*/ 525 w 525"/>
                <a:gd name="T21" fmla="*/ 55 h 241"/>
                <a:gd name="T22" fmla="*/ 519 w 525"/>
                <a:gd name="T23" fmla="*/ 69 h 241"/>
                <a:gd name="T24" fmla="*/ 510 w 525"/>
                <a:gd name="T25" fmla="*/ 82 h 241"/>
                <a:gd name="T26" fmla="*/ 499 w 525"/>
                <a:gd name="T27" fmla="*/ 92 h 241"/>
                <a:gd name="T28" fmla="*/ 485 w 525"/>
                <a:gd name="T29" fmla="*/ 99 h 241"/>
                <a:gd name="T30" fmla="*/ 442 w 525"/>
                <a:gd name="T31" fmla="*/ 103 h 241"/>
                <a:gd name="T32" fmla="*/ 418 w 525"/>
                <a:gd name="T33" fmla="*/ 107 h 241"/>
                <a:gd name="T34" fmla="*/ 407 w 525"/>
                <a:gd name="T35" fmla="*/ 111 h 241"/>
                <a:gd name="T36" fmla="*/ 399 w 525"/>
                <a:gd name="T37" fmla="*/ 117 h 241"/>
                <a:gd name="T38" fmla="*/ 387 w 525"/>
                <a:gd name="T39" fmla="*/ 136 h 241"/>
                <a:gd name="T40" fmla="*/ 378 w 525"/>
                <a:gd name="T41" fmla="*/ 147 h 241"/>
                <a:gd name="T42" fmla="*/ 365 w 525"/>
                <a:gd name="T43" fmla="*/ 154 h 241"/>
                <a:gd name="T44" fmla="*/ 305 w 525"/>
                <a:gd name="T45" fmla="*/ 166 h 241"/>
                <a:gd name="T46" fmla="*/ 273 w 525"/>
                <a:gd name="T47" fmla="*/ 173 h 241"/>
                <a:gd name="T48" fmla="*/ 260 w 525"/>
                <a:gd name="T49" fmla="*/ 178 h 241"/>
                <a:gd name="T50" fmla="*/ 261 w 525"/>
                <a:gd name="T51" fmla="*/ 192 h 241"/>
                <a:gd name="T52" fmla="*/ 263 w 525"/>
                <a:gd name="T53" fmla="*/ 203 h 241"/>
                <a:gd name="T54" fmla="*/ 273 w 525"/>
                <a:gd name="T55" fmla="*/ 222 h 241"/>
                <a:gd name="T56" fmla="*/ 219 w 525"/>
                <a:gd name="T57" fmla="*/ 228 h 241"/>
                <a:gd name="T58" fmla="*/ 112 w 525"/>
                <a:gd name="T59" fmla="*/ 234 h 241"/>
                <a:gd name="T60" fmla="*/ 20 w 525"/>
                <a:gd name="T61" fmla="*/ 222 h 241"/>
                <a:gd name="T62" fmla="*/ 53 w 525"/>
                <a:gd name="T63" fmla="*/ 166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352">
              <a:extLst>
                <a:ext uri="{FF2B5EF4-FFF2-40B4-BE49-F238E27FC236}">
                  <a16:creationId xmlns="" xmlns:a16="http://schemas.microsoft.com/office/drawing/2014/main" id="{B09E375D-B42E-DB43-BCA8-A9F636D4697A}"/>
                </a:ext>
              </a:extLst>
            </p:cNvPr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5216525" y="2316163"/>
              <a:ext cx="342900" cy="227012"/>
            </a:xfrm>
            <a:custGeom>
              <a:avLst/>
              <a:gdLst>
                <a:gd name="T0" fmla="*/ 768 w 784"/>
                <a:gd name="T1" fmla="*/ 292 h 430"/>
                <a:gd name="T2" fmla="*/ 751 w 784"/>
                <a:gd name="T3" fmla="*/ 293 h 430"/>
                <a:gd name="T4" fmla="*/ 731 w 784"/>
                <a:gd name="T5" fmla="*/ 302 h 430"/>
                <a:gd name="T6" fmla="*/ 723 w 784"/>
                <a:gd name="T7" fmla="*/ 308 h 430"/>
                <a:gd name="T8" fmla="*/ 717 w 784"/>
                <a:gd name="T9" fmla="*/ 332 h 430"/>
                <a:gd name="T10" fmla="*/ 713 w 784"/>
                <a:gd name="T11" fmla="*/ 360 h 430"/>
                <a:gd name="T12" fmla="*/ 704 w 784"/>
                <a:gd name="T13" fmla="*/ 376 h 430"/>
                <a:gd name="T14" fmla="*/ 671 w 784"/>
                <a:gd name="T15" fmla="*/ 402 h 430"/>
                <a:gd name="T16" fmla="*/ 633 w 784"/>
                <a:gd name="T17" fmla="*/ 420 h 430"/>
                <a:gd name="T18" fmla="*/ 612 w 784"/>
                <a:gd name="T19" fmla="*/ 424 h 430"/>
                <a:gd name="T20" fmla="*/ 587 w 784"/>
                <a:gd name="T21" fmla="*/ 429 h 430"/>
                <a:gd name="T22" fmla="*/ 567 w 784"/>
                <a:gd name="T23" fmla="*/ 428 h 430"/>
                <a:gd name="T24" fmla="*/ 545 w 784"/>
                <a:gd name="T25" fmla="*/ 388 h 430"/>
                <a:gd name="T26" fmla="*/ 515 w 784"/>
                <a:gd name="T27" fmla="*/ 344 h 430"/>
                <a:gd name="T28" fmla="*/ 478 w 784"/>
                <a:gd name="T29" fmla="*/ 334 h 430"/>
                <a:gd name="T30" fmla="*/ 448 w 784"/>
                <a:gd name="T31" fmla="*/ 315 h 430"/>
                <a:gd name="T32" fmla="*/ 417 w 784"/>
                <a:gd name="T33" fmla="*/ 294 h 430"/>
                <a:gd name="T34" fmla="*/ 373 w 784"/>
                <a:gd name="T35" fmla="*/ 274 h 430"/>
                <a:gd name="T36" fmla="*/ 306 w 784"/>
                <a:gd name="T37" fmla="*/ 258 h 430"/>
                <a:gd name="T38" fmla="*/ 182 w 784"/>
                <a:gd name="T39" fmla="*/ 283 h 430"/>
                <a:gd name="T40" fmla="*/ 151 w 784"/>
                <a:gd name="T41" fmla="*/ 306 h 430"/>
                <a:gd name="T42" fmla="*/ 127 w 784"/>
                <a:gd name="T43" fmla="*/ 308 h 430"/>
                <a:gd name="T44" fmla="*/ 66 w 784"/>
                <a:gd name="T45" fmla="*/ 252 h 430"/>
                <a:gd name="T46" fmla="*/ 66 w 784"/>
                <a:gd name="T47" fmla="*/ 204 h 430"/>
                <a:gd name="T48" fmla="*/ 40 w 784"/>
                <a:gd name="T49" fmla="*/ 179 h 430"/>
                <a:gd name="T50" fmla="*/ 42 w 784"/>
                <a:gd name="T51" fmla="*/ 199 h 430"/>
                <a:gd name="T52" fmla="*/ 36 w 784"/>
                <a:gd name="T53" fmla="*/ 218 h 430"/>
                <a:gd name="T54" fmla="*/ 30 w 784"/>
                <a:gd name="T55" fmla="*/ 221 h 430"/>
                <a:gd name="T56" fmla="*/ 31 w 784"/>
                <a:gd name="T57" fmla="*/ 203 h 430"/>
                <a:gd name="T58" fmla="*/ 27 w 784"/>
                <a:gd name="T59" fmla="*/ 174 h 430"/>
                <a:gd name="T60" fmla="*/ 33 w 784"/>
                <a:gd name="T61" fmla="*/ 163 h 430"/>
                <a:gd name="T62" fmla="*/ 40 w 784"/>
                <a:gd name="T63" fmla="*/ 152 h 430"/>
                <a:gd name="T64" fmla="*/ 27 w 784"/>
                <a:gd name="T65" fmla="*/ 129 h 430"/>
                <a:gd name="T66" fmla="*/ 7 w 784"/>
                <a:gd name="T67" fmla="*/ 126 h 430"/>
                <a:gd name="T68" fmla="*/ 0 w 784"/>
                <a:gd name="T69" fmla="*/ 117 h 430"/>
                <a:gd name="T70" fmla="*/ 3 w 784"/>
                <a:gd name="T71" fmla="*/ 104 h 430"/>
                <a:gd name="T72" fmla="*/ 11 w 784"/>
                <a:gd name="T73" fmla="*/ 94 h 430"/>
                <a:gd name="T74" fmla="*/ 27 w 784"/>
                <a:gd name="T75" fmla="*/ 92 h 430"/>
                <a:gd name="T76" fmla="*/ 41 w 784"/>
                <a:gd name="T77" fmla="*/ 99 h 430"/>
                <a:gd name="T78" fmla="*/ 57 w 784"/>
                <a:gd name="T79" fmla="*/ 104 h 430"/>
                <a:gd name="T80" fmla="*/ 71 w 784"/>
                <a:gd name="T81" fmla="*/ 92 h 430"/>
                <a:gd name="T82" fmla="*/ 83 w 784"/>
                <a:gd name="T83" fmla="*/ 77 h 430"/>
                <a:gd name="T84" fmla="*/ 87 w 784"/>
                <a:gd name="T85" fmla="*/ 64 h 430"/>
                <a:gd name="T86" fmla="*/ 78 w 784"/>
                <a:gd name="T87" fmla="*/ 55 h 430"/>
                <a:gd name="T88" fmla="*/ 55 w 784"/>
                <a:gd name="T89" fmla="*/ 49 h 430"/>
                <a:gd name="T90" fmla="*/ 47 w 784"/>
                <a:gd name="T91" fmla="*/ 40 h 430"/>
                <a:gd name="T92" fmla="*/ 41 w 784"/>
                <a:gd name="T93" fmla="*/ 28 h 430"/>
                <a:gd name="T94" fmla="*/ 107 w 784"/>
                <a:gd name="T95" fmla="*/ 43 h 430"/>
                <a:gd name="T96" fmla="*/ 219 w 784"/>
                <a:gd name="T97" fmla="*/ 74 h 430"/>
                <a:gd name="T98" fmla="*/ 273 w 784"/>
                <a:gd name="T99" fmla="*/ 0 h 430"/>
                <a:gd name="T100" fmla="*/ 373 w 784"/>
                <a:gd name="T101" fmla="*/ 43 h 430"/>
                <a:gd name="T102" fmla="*/ 465 w 784"/>
                <a:gd name="T103" fmla="*/ 92 h 430"/>
                <a:gd name="T104" fmla="*/ 591 w 784"/>
                <a:gd name="T105" fmla="*/ 210 h 430"/>
                <a:gd name="T106" fmla="*/ 724 w 784"/>
                <a:gd name="T107" fmla="*/ 265 h 430"/>
                <a:gd name="T108" fmla="*/ 778 w 784"/>
                <a:gd name="T109" fmla="*/ 295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" name="Freeform 353">
              <a:extLst>
                <a:ext uri="{FF2B5EF4-FFF2-40B4-BE49-F238E27FC236}">
                  <a16:creationId xmlns="" xmlns:a16="http://schemas.microsoft.com/office/drawing/2014/main" id="{DC010978-7F27-C246-9698-37FF35A9C686}"/>
                </a:ext>
              </a:extLst>
            </p:cNvPr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425950" y="2203450"/>
              <a:ext cx="107950" cy="149225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" name="Freeform 354">
              <a:extLst>
                <a:ext uri="{FF2B5EF4-FFF2-40B4-BE49-F238E27FC236}">
                  <a16:creationId xmlns="" xmlns:a16="http://schemas.microsoft.com/office/drawing/2014/main" id="{265EF723-034B-6D48-AB2E-11EB07D34D05}"/>
                </a:ext>
              </a:extLst>
            </p:cNvPr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473575" y="2311400"/>
              <a:ext cx="68263" cy="60325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6" name="Freeform 355">
              <a:extLst>
                <a:ext uri="{FF2B5EF4-FFF2-40B4-BE49-F238E27FC236}">
                  <a16:creationId xmlns="" xmlns:a16="http://schemas.microsoft.com/office/drawing/2014/main" id="{E5BB18E3-7B53-5D4F-B120-5B0F226C226E}"/>
                </a:ext>
              </a:extLst>
            </p:cNvPr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7" name="Freeform 356">
              <a:extLst>
                <a:ext uri="{FF2B5EF4-FFF2-40B4-BE49-F238E27FC236}">
                  <a16:creationId xmlns="" xmlns:a16="http://schemas.microsoft.com/office/drawing/2014/main" id="{F8A75C32-8EE4-D64F-9C28-96EDFACA84DE}"/>
                </a:ext>
              </a:extLst>
            </p:cNvPr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5041900" y="3275013"/>
              <a:ext cx="244475" cy="431800"/>
            </a:xfrm>
            <a:custGeom>
              <a:avLst/>
              <a:gdLst>
                <a:gd name="T0" fmla="*/ 98 w 556"/>
                <a:gd name="T1" fmla="*/ 62 h 819"/>
                <a:gd name="T2" fmla="*/ 112 w 556"/>
                <a:gd name="T3" fmla="*/ 56 h 819"/>
                <a:gd name="T4" fmla="*/ 129 w 556"/>
                <a:gd name="T5" fmla="*/ 69 h 819"/>
                <a:gd name="T6" fmla="*/ 149 w 556"/>
                <a:gd name="T7" fmla="*/ 85 h 819"/>
                <a:gd name="T8" fmla="*/ 171 w 556"/>
                <a:gd name="T9" fmla="*/ 92 h 819"/>
                <a:gd name="T10" fmla="*/ 215 w 556"/>
                <a:gd name="T11" fmla="*/ 88 h 819"/>
                <a:gd name="T12" fmla="*/ 257 w 556"/>
                <a:gd name="T13" fmla="*/ 82 h 819"/>
                <a:gd name="T14" fmla="*/ 291 w 556"/>
                <a:gd name="T15" fmla="*/ 79 h 819"/>
                <a:gd name="T16" fmla="*/ 301 w 556"/>
                <a:gd name="T17" fmla="*/ 74 h 819"/>
                <a:gd name="T18" fmla="*/ 301 w 556"/>
                <a:gd name="T19" fmla="*/ 68 h 819"/>
                <a:gd name="T20" fmla="*/ 355 w 556"/>
                <a:gd name="T21" fmla="*/ 63 h 819"/>
                <a:gd name="T22" fmla="*/ 434 w 556"/>
                <a:gd name="T23" fmla="*/ 45 h 819"/>
                <a:gd name="T24" fmla="*/ 479 w 556"/>
                <a:gd name="T25" fmla="*/ 28 h 819"/>
                <a:gd name="T26" fmla="*/ 514 w 556"/>
                <a:gd name="T27" fmla="*/ 8 h 819"/>
                <a:gd name="T28" fmla="*/ 547 w 556"/>
                <a:gd name="T29" fmla="*/ 31 h 819"/>
                <a:gd name="T30" fmla="*/ 555 w 556"/>
                <a:gd name="T31" fmla="*/ 57 h 819"/>
                <a:gd name="T32" fmla="*/ 552 w 556"/>
                <a:gd name="T33" fmla="*/ 113 h 819"/>
                <a:gd name="T34" fmla="*/ 532 w 556"/>
                <a:gd name="T35" fmla="*/ 174 h 819"/>
                <a:gd name="T36" fmla="*/ 502 w 556"/>
                <a:gd name="T37" fmla="*/ 231 h 819"/>
                <a:gd name="T38" fmla="*/ 447 w 556"/>
                <a:gd name="T39" fmla="*/ 321 h 819"/>
                <a:gd name="T40" fmla="*/ 423 w 556"/>
                <a:gd name="T41" fmla="*/ 375 h 819"/>
                <a:gd name="T42" fmla="*/ 410 w 556"/>
                <a:gd name="T43" fmla="*/ 415 h 819"/>
                <a:gd name="T44" fmla="*/ 379 w 556"/>
                <a:gd name="T45" fmla="*/ 473 h 819"/>
                <a:gd name="T46" fmla="*/ 330 w 556"/>
                <a:gd name="T47" fmla="*/ 531 h 819"/>
                <a:gd name="T48" fmla="*/ 288 w 556"/>
                <a:gd name="T49" fmla="*/ 566 h 819"/>
                <a:gd name="T50" fmla="*/ 239 w 556"/>
                <a:gd name="T51" fmla="*/ 600 h 819"/>
                <a:gd name="T52" fmla="*/ 168 w 556"/>
                <a:gd name="T53" fmla="*/ 651 h 819"/>
                <a:gd name="T54" fmla="*/ 143 w 556"/>
                <a:gd name="T55" fmla="*/ 680 h 819"/>
                <a:gd name="T56" fmla="*/ 131 w 556"/>
                <a:gd name="T57" fmla="*/ 700 h 819"/>
                <a:gd name="T58" fmla="*/ 116 w 556"/>
                <a:gd name="T59" fmla="*/ 717 h 819"/>
                <a:gd name="T60" fmla="*/ 71 w 556"/>
                <a:gd name="T61" fmla="*/ 745 h 819"/>
                <a:gd name="T62" fmla="*/ 19 w 556"/>
                <a:gd name="T63" fmla="*/ 801 h 819"/>
                <a:gd name="T64" fmla="*/ 2 w 556"/>
                <a:gd name="T65" fmla="*/ 564 h 819"/>
                <a:gd name="T66" fmla="*/ 3 w 556"/>
                <a:gd name="T67" fmla="*/ 554 h 819"/>
                <a:gd name="T68" fmla="*/ 27 w 556"/>
                <a:gd name="T69" fmla="*/ 533 h 819"/>
                <a:gd name="T70" fmla="*/ 42 w 556"/>
                <a:gd name="T71" fmla="*/ 516 h 819"/>
                <a:gd name="T72" fmla="*/ 60 w 556"/>
                <a:gd name="T73" fmla="*/ 497 h 819"/>
                <a:gd name="T74" fmla="*/ 111 w 556"/>
                <a:gd name="T75" fmla="*/ 480 h 819"/>
                <a:gd name="T76" fmla="*/ 119 w 556"/>
                <a:gd name="T77" fmla="*/ 470 h 819"/>
                <a:gd name="T78" fmla="*/ 129 w 556"/>
                <a:gd name="T79" fmla="*/ 452 h 819"/>
                <a:gd name="T80" fmla="*/ 152 w 556"/>
                <a:gd name="T81" fmla="*/ 440 h 819"/>
                <a:gd name="T82" fmla="*/ 174 w 556"/>
                <a:gd name="T83" fmla="*/ 439 h 819"/>
                <a:gd name="T84" fmla="*/ 196 w 556"/>
                <a:gd name="T85" fmla="*/ 439 h 819"/>
                <a:gd name="T86" fmla="*/ 228 w 556"/>
                <a:gd name="T87" fmla="*/ 429 h 819"/>
                <a:gd name="T88" fmla="*/ 251 w 556"/>
                <a:gd name="T89" fmla="*/ 405 h 819"/>
                <a:gd name="T90" fmla="*/ 265 w 556"/>
                <a:gd name="T91" fmla="*/ 379 h 819"/>
                <a:gd name="T92" fmla="*/ 296 w 556"/>
                <a:gd name="T93" fmla="*/ 347 h 819"/>
                <a:gd name="T94" fmla="*/ 354 w 556"/>
                <a:gd name="T95" fmla="*/ 293 h 819"/>
                <a:gd name="T96" fmla="*/ 377 w 556"/>
                <a:gd name="T97" fmla="*/ 266 h 819"/>
                <a:gd name="T98" fmla="*/ 324 w 556"/>
                <a:gd name="T99" fmla="*/ 246 h 819"/>
                <a:gd name="T100" fmla="*/ 257 w 556"/>
                <a:gd name="T101" fmla="*/ 228 h 819"/>
                <a:gd name="T102" fmla="*/ 184 w 556"/>
                <a:gd name="T103" fmla="*/ 209 h 819"/>
                <a:gd name="T104" fmla="*/ 149 w 556"/>
                <a:gd name="T105" fmla="*/ 187 h 819"/>
                <a:gd name="T106" fmla="*/ 112 w 556"/>
                <a:gd name="T107" fmla="*/ 154 h 819"/>
                <a:gd name="T108" fmla="*/ 89 w 556"/>
                <a:gd name="T109" fmla="*/ 121 h 819"/>
                <a:gd name="T110" fmla="*/ 77 w 556"/>
                <a:gd name="T111" fmla="*/ 80 h 819"/>
                <a:gd name="T112" fmla="*/ 65 w 556"/>
                <a:gd name="T113" fmla="*/ 87 h 819"/>
                <a:gd name="T114" fmla="*/ 84 w 556"/>
                <a:gd name="T115" fmla="*/ 68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8" name="Freeform 357">
              <a:extLst>
                <a:ext uri="{FF2B5EF4-FFF2-40B4-BE49-F238E27FC236}">
                  <a16:creationId xmlns="" xmlns:a16="http://schemas.microsoft.com/office/drawing/2014/main" id="{B339A2A4-43C8-4E47-86FA-6EAA968809B0}"/>
                </a:ext>
              </a:extLst>
            </p:cNvPr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5049838" y="3262313"/>
              <a:ext cx="38100" cy="58737"/>
            </a:xfrm>
            <a:custGeom>
              <a:avLst/>
              <a:gdLst>
                <a:gd name="T0" fmla="*/ 59 w 86"/>
                <a:gd name="T1" fmla="*/ 0 h 97"/>
                <a:gd name="T2" fmla="*/ 56 w 86"/>
                <a:gd name="T3" fmla="*/ 2 h 97"/>
                <a:gd name="T4" fmla="*/ 52 w 86"/>
                <a:gd name="T5" fmla="*/ 3 h 97"/>
                <a:gd name="T6" fmla="*/ 46 w 86"/>
                <a:gd name="T7" fmla="*/ 3 h 97"/>
                <a:gd name="T8" fmla="*/ 40 w 86"/>
                <a:gd name="T9" fmla="*/ 3 h 97"/>
                <a:gd name="T10" fmla="*/ 33 w 86"/>
                <a:gd name="T11" fmla="*/ 3 h 97"/>
                <a:gd name="T12" fmla="*/ 27 w 86"/>
                <a:gd name="T13" fmla="*/ 3 h 97"/>
                <a:gd name="T14" fmla="*/ 23 w 86"/>
                <a:gd name="T15" fmla="*/ 4 h 97"/>
                <a:gd name="T16" fmla="*/ 20 w 86"/>
                <a:gd name="T17" fmla="*/ 6 h 97"/>
                <a:gd name="T18" fmla="*/ 16 w 86"/>
                <a:gd name="T19" fmla="*/ 9 h 97"/>
                <a:gd name="T20" fmla="*/ 13 w 86"/>
                <a:gd name="T21" fmla="*/ 12 h 97"/>
                <a:gd name="T22" fmla="*/ 11 w 86"/>
                <a:gd name="T23" fmla="*/ 15 h 97"/>
                <a:gd name="T24" fmla="*/ 8 w 86"/>
                <a:gd name="T25" fmla="*/ 20 h 97"/>
                <a:gd name="T26" fmla="*/ 4 w 86"/>
                <a:gd name="T27" fmla="*/ 29 h 97"/>
                <a:gd name="T28" fmla="*/ 2 w 86"/>
                <a:gd name="T29" fmla="*/ 38 h 97"/>
                <a:gd name="T30" fmla="*/ 0 w 86"/>
                <a:gd name="T31" fmla="*/ 57 h 97"/>
                <a:gd name="T32" fmla="*/ 0 w 86"/>
                <a:gd name="T33" fmla="*/ 75 h 97"/>
                <a:gd name="T34" fmla="*/ 0 w 86"/>
                <a:gd name="T35" fmla="*/ 81 h 97"/>
                <a:gd name="T36" fmla="*/ 1 w 86"/>
                <a:gd name="T37" fmla="*/ 86 h 97"/>
                <a:gd name="T38" fmla="*/ 3 w 86"/>
                <a:gd name="T39" fmla="*/ 90 h 97"/>
                <a:gd name="T40" fmla="*/ 7 w 86"/>
                <a:gd name="T41" fmla="*/ 93 h 97"/>
                <a:gd name="T42" fmla="*/ 10 w 86"/>
                <a:gd name="T43" fmla="*/ 95 h 97"/>
                <a:gd name="T44" fmla="*/ 13 w 86"/>
                <a:gd name="T45" fmla="*/ 96 h 97"/>
                <a:gd name="T46" fmla="*/ 18 w 86"/>
                <a:gd name="T47" fmla="*/ 97 h 97"/>
                <a:gd name="T48" fmla="*/ 21 w 86"/>
                <a:gd name="T49" fmla="*/ 97 h 97"/>
                <a:gd name="T50" fmla="*/ 40 w 86"/>
                <a:gd name="T51" fmla="*/ 95 h 97"/>
                <a:gd name="T52" fmla="*/ 53 w 86"/>
                <a:gd name="T53" fmla="*/ 93 h 97"/>
                <a:gd name="T54" fmla="*/ 86 w 86"/>
                <a:gd name="T55" fmla="*/ 68 h 97"/>
                <a:gd name="T56" fmla="*/ 59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9" name="Freeform 358">
              <a:extLst>
                <a:ext uri="{FF2B5EF4-FFF2-40B4-BE49-F238E27FC236}">
                  <a16:creationId xmlns="" xmlns:a16="http://schemas.microsoft.com/office/drawing/2014/main" id="{2AC53D5C-C2A3-DD44-980F-D1CE056A8308}"/>
                </a:ext>
              </a:extLst>
            </p:cNvPr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848225" y="3173413"/>
              <a:ext cx="363538" cy="376237"/>
            </a:xfrm>
            <a:custGeom>
              <a:avLst/>
              <a:gdLst>
                <a:gd name="T0" fmla="*/ 182 w 845"/>
                <a:gd name="T1" fmla="*/ 36 h 720"/>
                <a:gd name="T2" fmla="*/ 205 w 845"/>
                <a:gd name="T3" fmla="*/ 28 h 720"/>
                <a:gd name="T4" fmla="*/ 247 w 845"/>
                <a:gd name="T5" fmla="*/ 0 h 720"/>
                <a:gd name="T6" fmla="*/ 273 w 845"/>
                <a:gd name="T7" fmla="*/ 12 h 720"/>
                <a:gd name="T8" fmla="*/ 327 w 845"/>
                <a:gd name="T9" fmla="*/ 37 h 720"/>
                <a:gd name="T10" fmla="*/ 380 w 845"/>
                <a:gd name="T11" fmla="*/ 67 h 720"/>
                <a:gd name="T12" fmla="*/ 426 w 845"/>
                <a:gd name="T13" fmla="*/ 98 h 720"/>
                <a:gd name="T14" fmla="*/ 442 w 845"/>
                <a:gd name="T15" fmla="*/ 125 h 720"/>
                <a:gd name="T16" fmla="*/ 443 w 845"/>
                <a:gd name="T17" fmla="*/ 140 h 720"/>
                <a:gd name="T18" fmla="*/ 458 w 845"/>
                <a:gd name="T19" fmla="*/ 147 h 720"/>
                <a:gd name="T20" fmla="*/ 499 w 845"/>
                <a:gd name="T21" fmla="*/ 178 h 720"/>
                <a:gd name="T22" fmla="*/ 506 w 845"/>
                <a:gd name="T23" fmla="*/ 172 h 720"/>
                <a:gd name="T24" fmla="*/ 488 w 845"/>
                <a:gd name="T25" fmla="*/ 184 h 720"/>
                <a:gd name="T26" fmla="*/ 481 w 845"/>
                <a:gd name="T27" fmla="*/ 202 h 720"/>
                <a:gd name="T28" fmla="*/ 481 w 845"/>
                <a:gd name="T29" fmla="*/ 252 h 720"/>
                <a:gd name="T30" fmla="*/ 493 w 845"/>
                <a:gd name="T31" fmla="*/ 264 h 720"/>
                <a:gd name="T32" fmla="*/ 526 w 845"/>
                <a:gd name="T33" fmla="*/ 265 h 720"/>
                <a:gd name="T34" fmla="*/ 545 w 845"/>
                <a:gd name="T35" fmla="*/ 319 h 720"/>
                <a:gd name="T36" fmla="*/ 583 w 845"/>
                <a:gd name="T37" fmla="*/ 361 h 720"/>
                <a:gd name="T38" fmla="*/ 645 w 845"/>
                <a:gd name="T39" fmla="*/ 400 h 720"/>
                <a:gd name="T40" fmla="*/ 738 w 845"/>
                <a:gd name="T41" fmla="*/ 430 h 720"/>
                <a:gd name="T42" fmla="*/ 845 w 845"/>
                <a:gd name="T43" fmla="*/ 449 h 720"/>
                <a:gd name="T44" fmla="*/ 811 w 845"/>
                <a:gd name="T45" fmla="*/ 482 h 720"/>
                <a:gd name="T46" fmla="*/ 731 w 845"/>
                <a:gd name="T47" fmla="*/ 547 h 720"/>
                <a:gd name="T48" fmla="*/ 712 w 845"/>
                <a:gd name="T49" fmla="*/ 579 h 720"/>
                <a:gd name="T50" fmla="*/ 697 w 845"/>
                <a:gd name="T51" fmla="*/ 617 h 720"/>
                <a:gd name="T52" fmla="*/ 674 w 845"/>
                <a:gd name="T53" fmla="*/ 629 h 720"/>
                <a:gd name="T54" fmla="*/ 580 w 845"/>
                <a:gd name="T55" fmla="*/ 655 h 720"/>
                <a:gd name="T56" fmla="*/ 559 w 845"/>
                <a:gd name="T57" fmla="*/ 671 h 720"/>
                <a:gd name="T58" fmla="*/ 525 w 845"/>
                <a:gd name="T59" fmla="*/ 681 h 720"/>
                <a:gd name="T60" fmla="*/ 482 w 845"/>
                <a:gd name="T61" fmla="*/ 693 h 720"/>
                <a:gd name="T62" fmla="*/ 461 w 845"/>
                <a:gd name="T63" fmla="*/ 680 h 720"/>
                <a:gd name="T64" fmla="*/ 427 w 845"/>
                <a:gd name="T65" fmla="*/ 679 h 720"/>
                <a:gd name="T66" fmla="*/ 405 w 845"/>
                <a:gd name="T67" fmla="*/ 699 h 720"/>
                <a:gd name="T68" fmla="*/ 390 w 845"/>
                <a:gd name="T69" fmla="*/ 714 h 720"/>
                <a:gd name="T70" fmla="*/ 360 w 845"/>
                <a:gd name="T71" fmla="*/ 720 h 720"/>
                <a:gd name="T72" fmla="*/ 318 w 845"/>
                <a:gd name="T73" fmla="*/ 714 h 720"/>
                <a:gd name="T74" fmla="*/ 289 w 845"/>
                <a:gd name="T75" fmla="*/ 698 h 720"/>
                <a:gd name="T76" fmla="*/ 246 w 845"/>
                <a:gd name="T77" fmla="*/ 671 h 720"/>
                <a:gd name="T78" fmla="*/ 181 w 845"/>
                <a:gd name="T79" fmla="*/ 661 h 720"/>
                <a:gd name="T80" fmla="*/ 140 w 845"/>
                <a:gd name="T81" fmla="*/ 653 h 720"/>
                <a:gd name="T82" fmla="*/ 151 w 845"/>
                <a:gd name="T83" fmla="*/ 614 h 720"/>
                <a:gd name="T84" fmla="*/ 127 w 845"/>
                <a:gd name="T85" fmla="*/ 596 h 720"/>
                <a:gd name="T86" fmla="*/ 108 w 845"/>
                <a:gd name="T87" fmla="*/ 583 h 720"/>
                <a:gd name="T88" fmla="*/ 93 w 845"/>
                <a:gd name="T89" fmla="*/ 551 h 720"/>
                <a:gd name="T90" fmla="*/ 77 w 845"/>
                <a:gd name="T91" fmla="*/ 511 h 720"/>
                <a:gd name="T92" fmla="*/ 49 w 845"/>
                <a:gd name="T93" fmla="*/ 489 h 720"/>
                <a:gd name="T94" fmla="*/ 16 w 845"/>
                <a:gd name="T95" fmla="*/ 477 h 720"/>
                <a:gd name="T96" fmla="*/ 5 w 845"/>
                <a:gd name="T97" fmla="*/ 472 h 720"/>
                <a:gd name="T98" fmla="*/ 2 w 845"/>
                <a:gd name="T99" fmla="*/ 448 h 720"/>
                <a:gd name="T100" fmla="*/ 21 w 845"/>
                <a:gd name="T101" fmla="*/ 422 h 720"/>
                <a:gd name="T102" fmla="*/ 55 w 845"/>
                <a:gd name="T103" fmla="*/ 413 h 720"/>
                <a:gd name="T104" fmla="*/ 67 w 845"/>
                <a:gd name="T105" fmla="*/ 321 h 720"/>
                <a:gd name="T106" fmla="*/ 82 w 845"/>
                <a:gd name="T107" fmla="*/ 275 h 720"/>
                <a:gd name="T108" fmla="*/ 95 w 845"/>
                <a:gd name="T109" fmla="*/ 260 h 720"/>
                <a:gd name="T110" fmla="*/ 103 w 845"/>
                <a:gd name="T111" fmla="*/ 236 h 720"/>
                <a:gd name="T112" fmla="*/ 116 w 845"/>
                <a:gd name="T113" fmla="*/ 206 h 720"/>
                <a:gd name="T114" fmla="*/ 148 w 845"/>
                <a:gd name="T115" fmla="*/ 178 h 720"/>
                <a:gd name="T116" fmla="*/ 167 w 845"/>
                <a:gd name="T117" fmla="*/ 160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Line 359">
              <a:extLst>
                <a:ext uri="{FF2B5EF4-FFF2-40B4-BE49-F238E27FC236}">
                  <a16:creationId xmlns="" xmlns:a16="http://schemas.microsoft.com/office/drawing/2014/main" id="{5873AD31-2838-CE41-B149-2E3A99E7CBEA}"/>
                </a:ext>
              </a:extLst>
            </p:cNvPr>
            <p:cNvSpPr>
              <a:spLocks noChangeShapeType="1"/>
            </p:cNvSpPr>
            <p:nvPr>
              <p:custDataLst>
                <p:tags r:id="rId262"/>
              </p:custDataLst>
            </p:nvPr>
          </p:nvSpPr>
          <p:spPr bwMode="auto">
            <a:xfrm flipH="1">
              <a:off x="1708150" y="3692525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360">
              <a:extLst>
                <a:ext uri="{FF2B5EF4-FFF2-40B4-BE49-F238E27FC236}">
                  <a16:creationId xmlns="" xmlns:a16="http://schemas.microsoft.com/office/drawing/2014/main" id="{15E9B89E-032B-3942-A8B9-C58FEF99F585}"/>
                </a:ext>
              </a:extLst>
            </p:cNvPr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1708150" y="3700463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7 w 33"/>
                <a:gd name="T3" fmla="*/ 1 h 6"/>
                <a:gd name="T4" fmla="*/ 15 w 33"/>
                <a:gd name="T5" fmla="*/ 3 h 6"/>
                <a:gd name="T6" fmla="*/ 23 w 33"/>
                <a:gd name="T7" fmla="*/ 5 h 6"/>
                <a:gd name="T8" fmla="*/ 33 w 33"/>
                <a:gd name="T9" fmla="*/ 6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361">
              <a:extLst>
                <a:ext uri="{FF2B5EF4-FFF2-40B4-BE49-F238E27FC236}">
                  <a16:creationId xmlns="" xmlns:a16="http://schemas.microsoft.com/office/drawing/2014/main" id="{C625BC5B-1340-F44A-B94B-81A519BF57A8}"/>
                </a:ext>
              </a:extLst>
            </p:cNvPr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1716088" y="3687763"/>
              <a:ext cx="4762" cy="57150"/>
            </a:xfrm>
            <a:custGeom>
              <a:avLst/>
              <a:gdLst>
                <a:gd name="T0" fmla="*/ 13 w 13"/>
                <a:gd name="T1" fmla="*/ 30 h 30"/>
                <a:gd name="T2" fmla="*/ 13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83" name="Group 362">
              <a:extLst>
                <a:ext uri="{FF2B5EF4-FFF2-40B4-BE49-F238E27FC236}">
                  <a16:creationId xmlns="" xmlns:a16="http://schemas.microsoft.com/office/drawing/2014/main" id="{41A60A9F-18B8-4242-95ED-F28494D4690B}"/>
                </a:ext>
              </a:extLst>
            </p:cNvPr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1708150" y="3622675"/>
              <a:ext cx="417513" cy="201613"/>
              <a:chOff x="912" y="2626"/>
              <a:chExt cx="311" cy="127"/>
            </a:xfrm>
          </p:grpSpPr>
          <p:sp>
            <p:nvSpPr>
              <p:cNvPr id="384" name="Freeform 363">
                <a:extLst>
                  <a:ext uri="{FF2B5EF4-FFF2-40B4-BE49-F238E27FC236}">
                    <a16:creationId xmlns="" xmlns:a16="http://schemas.microsoft.com/office/drawing/2014/main" id="{40561BDF-CAB8-6645-B189-53184445B9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solidFill>
                <a:srgbClr val="D8E04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" name="Freeform 364">
                <a:extLst>
                  <a:ext uri="{FF2B5EF4-FFF2-40B4-BE49-F238E27FC236}">
                    <a16:creationId xmlns="" xmlns:a16="http://schemas.microsoft.com/office/drawing/2014/main" id="{5ECB8700-DEBD-EA43-BCBB-E4F864F94B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" name="Freeform 365">
                <a:extLst>
                  <a:ext uri="{FF2B5EF4-FFF2-40B4-BE49-F238E27FC236}">
                    <a16:creationId xmlns="" xmlns:a16="http://schemas.microsoft.com/office/drawing/2014/main" id="{668DA6E4-5EC8-874F-8C45-C2A955CC42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87" name="Freeform 366">
              <a:extLst>
                <a:ext uri="{FF2B5EF4-FFF2-40B4-BE49-F238E27FC236}">
                  <a16:creationId xmlns="" xmlns:a16="http://schemas.microsoft.com/office/drawing/2014/main" id="{39E773AE-92BC-914E-B11E-5F2AE7487A83}"/>
                </a:ext>
              </a:extLst>
            </p:cNvPr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5356225" y="4340225"/>
              <a:ext cx="19050" cy="58738"/>
            </a:xfrm>
            <a:custGeom>
              <a:avLst/>
              <a:gdLst>
                <a:gd name="T0" fmla="*/ 13 w 47"/>
                <a:gd name="T1" fmla="*/ 0 h 28"/>
                <a:gd name="T2" fmla="*/ 25 w 47"/>
                <a:gd name="T3" fmla="*/ 0 h 28"/>
                <a:gd name="T4" fmla="*/ 31 w 47"/>
                <a:gd name="T5" fmla="*/ 2 h 28"/>
                <a:gd name="T6" fmla="*/ 33 w 47"/>
                <a:gd name="T7" fmla="*/ 4 h 28"/>
                <a:gd name="T8" fmla="*/ 33 w 47"/>
                <a:gd name="T9" fmla="*/ 6 h 28"/>
                <a:gd name="T10" fmla="*/ 32 w 47"/>
                <a:gd name="T11" fmla="*/ 8 h 28"/>
                <a:gd name="T12" fmla="*/ 33 w 47"/>
                <a:gd name="T13" fmla="*/ 10 h 28"/>
                <a:gd name="T14" fmla="*/ 37 w 47"/>
                <a:gd name="T15" fmla="*/ 12 h 28"/>
                <a:gd name="T16" fmla="*/ 47 w 47"/>
                <a:gd name="T17" fmla="*/ 12 h 28"/>
                <a:gd name="T18" fmla="*/ 42 w 47"/>
                <a:gd name="T19" fmla="*/ 19 h 28"/>
                <a:gd name="T20" fmla="*/ 37 w 47"/>
                <a:gd name="T21" fmla="*/ 25 h 28"/>
                <a:gd name="T22" fmla="*/ 33 w 47"/>
                <a:gd name="T23" fmla="*/ 27 h 28"/>
                <a:gd name="T24" fmla="*/ 28 w 47"/>
                <a:gd name="T25" fmla="*/ 28 h 28"/>
                <a:gd name="T26" fmla="*/ 16 w 47"/>
                <a:gd name="T27" fmla="*/ 27 h 28"/>
                <a:gd name="T28" fmla="*/ 0 w 47"/>
                <a:gd name="T29" fmla="*/ 25 h 28"/>
                <a:gd name="T30" fmla="*/ 1 w 47"/>
                <a:gd name="T31" fmla="*/ 19 h 28"/>
                <a:gd name="T32" fmla="*/ 2 w 47"/>
                <a:gd name="T33" fmla="*/ 15 h 28"/>
                <a:gd name="T34" fmla="*/ 4 w 47"/>
                <a:gd name="T35" fmla="*/ 13 h 28"/>
                <a:gd name="T36" fmla="*/ 6 w 47"/>
                <a:gd name="T37" fmla="*/ 12 h 28"/>
                <a:gd name="T38" fmla="*/ 9 w 47"/>
                <a:gd name="T39" fmla="*/ 11 h 28"/>
                <a:gd name="T40" fmla="*/ 11 w 47"/>
                <a:gd name="T41" fmla="*/ 9 h 28"/>
                <a:gd name="T42" fmla="*/ 13 w 47"/>
                <a:gd name="T43" fmla="*/ 5 h 28"/>
                <a:gd name="T44" fmla="*/ 13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367">
              <a:extLst>
                <a:ext uri="{FF2B5EF4-FFF2-40B4-BE49-F238E27FC236}">
                  <a16:creationId xmlns="" xmlns:a16="http://schemas.microsoft.com/office/drawing/2014/main" id="{F3582507-E2BA-A64B-99A1-8D2BB1FFC27F}"/>
                </a:ext>
              </a:extLst>
            </p:cNvPr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5327650" y="4367213"/>
              <a:ext cx="23813" cy="57150"/>
            </a:xfrm>
            <a:custGeom>
              <a:avLst/>
              <a:gdLst>
                <a:gd name="T0" fmla="*/ 13 w 53"/>
                <a:gd name="T1" fmla="*/ 0 h 33"/>
                <a:gd name="T2" fmla="*/ 26 w 53"/>
                <a:gd name="T3" fmla="*/ 1 h 33"/>
                <a:gd name="T4" fmla="*/ 34 w 53"/>
                <a:gd name="T5" fmla="*/ 1 h 33"/>
                <a:gd name="T6" fmla="*/ 37 w 53"/>
                <a:gd name="T7" fmla="*/ 3 h 33"/>
                <a:gd name="T8" fmla="*/ 37 w 53"/>
                <a:gd name="T9" fmla="*/ 4 h 33"/>
                <a:gd name="T10" fmla="*/ 37 w 53"/>
                <a:gd name="T11" fmla="*/ 6 h 33"/>
                <a:gd name="T12" fmla="*/ 39 w 53"/>
                <a:gd name="T13" fmla="*/ 8 h 33"/>
                <a:gd name="T14" fmla="*/ 44 w 53"/>
                <a:gd name="T15" fmla="*/ 10 h 33"/>
                <a:gd name="T16" fmla="*/ 53 w 53"/>
                <a:gd name="T17" fmla="*/ 12 h 33"/>
                <a:gd name="T18" fmla="*/ 48 w 53"/>
                <a:gd name="T19" fmla="*/ 22 h 33"/>
                <a:gd name="T20" fmla="*/ 44 w 53"/>
                <a:gd name="T21" fmla="*/ 28 h 33"/>
                <a:gd name="T22" fmla="*/ 42 w 53"/>
                <a:gd name="T23" fmla="*/ 31 h 33"/>
                <a:gd name="T24" fmla="*/ 38 w 53"/>
                <a:gd name="T25" fmla="*/ 32 h 33"/>
                <a:gd name="T26" fmla="*/ 36 w 53"/>
                <a:gd name="T27" fmla="*/ 33 h 33"/>
                <a:gd name="T28" fmla="*/ 34 w 53"/>
                <a:gd name="T29" fmla="*/ 33 h 33"/>
                <a:gd name="T30" fmla="*/ 20 w 53"/>
                <a:gd name="T31" fmla="*/ 30 h 33"/>
                <a:gd name="T32" fmla="*/ 0 w 53"/>
                <a:gd name="T33" fmla="*/ 24 h 33"/>
                <a:gd name="T34" fmla="*/ 0 w 53"/>
                <a:gd name="T35" fmla="*/ 19 h 33"/>
                <a:gd name="T36" fmla="*/ 2 w 53"/>
                <a:gd name="T37" fmla="*/ 16 h 33"/>
                <a:gd name="T38" fmla="*/ 4 w 53"/>
                <a:gd name="T39" fmla="*/ 14 h 33"/>
                <a:gd name="T40" fmla="*/ 7 w 53"/>
                <a:gd name="T41" fmla="*/ 12 h 33"/>
                <a:gd name="T42" fmla="*/ 9 w 53"/>
                <a:gd name="T43" fmla="*/ 11 h 33"/>
                <a:gd name="T44" fmla="*/ 11 w 53"/>
                <a:gd name="T45" fmla="*/ 9 h 33"/>
                <a:gd name="T46" fmla="*/ 12 w 53"/>
                <a:gd name="T47" fmla="*/ 6 h 33"/>
                <a:gd name="T48" fmla="*/ 13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89" name="Group 368">
              <a:extLst>
                <a:ext uri="{FF2B5EF4-FFF2-40B4-BE49-F238E27FC236}">
                  <a16:creationId xmlns="" xmlns:a16="http://schemas.microsoft.com/office/drawing/2014/main" id="{ECF0D8AD-7515-404A-826E-5965B9DF2C05}"/>
                </a:ext>
              </a:extLst>
            </p:cNvPr>
            <p:cNvGrpSpPr>
              <a:grpSpLocks/>
            </p:cNvGrpSpPr>
            <p:nvPr>
              <p:custDataLst>
                <p:tags r:id="rId268"/>
              </p:custDataLst>
            </p:nvPr>
          </p:nvGrpSpPr>
          <p:grpSpPr bwMode="auto">
            <a:xfrm>
              <a:off x="5168900" y="3859213"/>
              <a:ext cx="168275" cy="103187"/>
              <a:chOff x="3481" y="2773"/>
              <a:chExt cx="125" cy="65"/>
            </a:xfrm>
          </p:grpSpPr>
          <p:sp>
            <p:nvSpPr>
              <p:cNvPr id="390" name="Freeform 369">
                <a:extLst>
                  <a:ext uri="{FF2B5EF4-FFF2-40B4-BE49-F238E27FC236}">
                    <a16:creationId xmlns="" xmlns:a16="http://schemas.microsoft.com/office/drawing/2014/main" id="{3C6C1F64-9841-0E4E-82F9-BAE39138D8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1" name="Line 370">
                <a:extLst>
                  <a:ext uri="{FF2B5EF4-FFF2-40B4-BE49-F238E27FC236}">
                    <a16:creationId xmlns="" xmlns:a16="http://schemas.microsoft.com/office/drawing/2014/main" id="{F0A9D027-E3F6-5547-8D30-31EBE71C64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2" name="Freeform 371">
                <a:extLst>
                  <a:ext uri="{FF2B5EF4-FFF2-40B4-BE49-F238E27FC236}">
                    <a16:creationId xmlns="" xmlns:a16="http://schemas.microsoft.com/office/drawing/2014/main" id="{E3B8EA6A-12DE-BE4C-BBA0-B2118241EF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14 w 14"/>
                  <a:gd name="T1" fmla="*/ 19 h 19"/>
                  <a:gd name="T2" fmla="*/ 0 w 14"/>
                  <a:gd name="T3" fmla="*/ 0 h 19"/>
                  <a:gd name="T4" fmla="*/ 14 w 14"/>
                  <a:gd name="T5" fmla="*/ 19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3" name="Freeform 372">
                <a:extLst>
                  <a:ext uri="{FF2B5EF4-FFF2-40B4-BE49-F238E27FC236}">
                    <a16:creationId xmlns="" xmlns:a16="http://schemas.microsoft.com/office/drawing/2014/main" id="{39BA4FE4-9F12-1B44-B29A-D2CEB26AEC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4" name="Freeform 373">
                <a:extLst>
                  <a:ext uri="{FF2B5EF4-FFF2-40B4-BE49-F238E27FC236}">
                    <a16:creationId xmlns="" xmlns:a16="http://schemas.microsoft.com/office/drawing/2014/main" id="{49D02C46-DFFB-F348-B4D0-AB6A6BD56B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20 w 20"/>
                  <a:gd name="T1" fmla="*/ 12 h 12"/>
                  <a:gd name="T2" fmla="*/ 10 w 20"/>
                  <a:gd name="T3" fmla="*/ 9 h 12"/>
                  <a:gd name="T4" fmla="*/ 0 w 20"/>
                  <a:gd name="T5" fmla="*/ 6 h 12"/>
                  <a:gd name="T6" fmla="*/ 1 w 20"/>
                  <a:gd name="T7" fmla="*/ 5 h 12"/>
                  <a:gd name="T8" fmla="*/ 3 w 20"/>
                  <a:gd name="T9" fmla="*/ 3 h 12"/>
                  <a:gd name="T10" fmla="*/ 8 w 20"/>
                  <a:gd name="T11" fmla="*/ 1 h 12"/>
                  <a:gd name="T12" fmla="*/ 13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5" name="Line 374">
                <a:extLst>
                  <a:ext uri="{FF2B5EF4-FFF2-40B4-BE49-F238E27FC236}">
                    <a16:creationId xmlns="" xmlns:a16="http://schemas.microsoft.com/office/drawing/2014/main" id="{9D7C0A62-F79C-FA41-AC5D-D917FB6564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6" name="Freeform 375">
                <a:extLst>
                  <a:ext uri="{FF2B5EF4-FFF2-40B4-BE49-F238E27FC236}">
                    <a16:creationId xmlns="" xmlns:a16="http://schemas.microsoft.com/office/drawing/2014/main" id="{FB817C06-1FD4-0A43-A7CE-A1A0AC5D2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7" name="Freeform 376">
                <a:extLst>
                  <a:ext uri="{FF2B5EF4-FFF2-40B4-BE49-F238E27FC236}">
                    <a16:creationId xmlns="" xmlns:a16="http://schemas.microsoft.com/office/drawing/2014/main" id="{38BAE48D-3475-964E-99FD-9537B2DAE0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7 w 7"/>
                  <a:gd name="T1" fmla="*/ 12 h 12"/>
                  <a:gd name="T2" fmla="*/ 4 w 7"/>
                  <a:gd name="T3" fmla="*/ 6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8" name="Freeform 377">
                <a:extLst>
                  <a:ext uri="{FF2B5EF4-FFF2-40B4-BE49-F238E27FC236}">
                    <a16:creationId xmlns="" xmlns:a16="http://schemas.microsoft.com/office/drawing/2014/main" id="{D90DDE9B-F9C6-4545-92B2-C4B90518B7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18 h 18"/>
                  <a:gd name="T4" fmla="*/ 20 w 20"/>
                  <a:gd name="T5" fmla="*/ 18 h 18"/>
                  <a:gd name="T6" fmla="*/ 17 w 20"/>
                  <a:gd name="T7" fmla="*/ 12 h 18"/>
                  <a:gd name="T8" fmla="*/ 13 w 20"/>
                  <a:gd name="T9" fmla="*/ 6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99" name="Freeform 378">
                <a:extLst>
                  <a:ext uri="{FF2B5EF4-FFF2-40B4-BE49-F238E27FC236}">
                    <a16:creationId xmlns="" xmlns:a16="http://schemas.microsoft.com/office/drawing/2014/main" id="{A31C4E42-36AE-B042-ABF7-3BDF57190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6 h 18"/>
                  <a:gd name="T2" fmla="*/ 7 w 7"/>
                  <a:gd name="T3" fmla="*/ 18 h 18"/>
                  <a:gd name="T4" fmla="*/ 0 w 7"/>
                  <a:gd name="T5" fmla="*/ 18 h 18"/>
                  <a:gd name="T6" fmla="*/ 0 w 7"/>
                  <a:gd name="T7" fmla="*/ 0 h 18"/>
                  <a:gd name="T8" fmla="*/ 7 w 7"/>
                  <a:gd name="T9" fmla="*/ 0 h 18"/>
                  <a:gd name="T10" fmla="*/ 0 w 7"/>
                  <a:gd name="T11" fmla="*/ 6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0" name="Freeform 379">
                <a:extLst>
                  <a:ext uri="{FF2B5EF4-FFF2-40B4-BE49-F238E27FC236}">
                    <a16:creationId xmlns="" xmlns:a16="http://schemas.microsoft.com/office/drawing/2014/main" id="{80EDD110-6C8D-AC41-A6FE-4AD92A8A4A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13 w 13"/>
                  <a:gd name="T1" fmla="*/ 0 h 18"/>
                  <a:gd name="T2" fmla="*/ 10 w 13"/>
                  <a:gd name="T3" fmla="*/ 9 h 18"/>
                  <a:gd name="T4" fmla="*/ 6 w 13"/>
                  <a:gd name="T5" fmla="*/ 18 h 18"/>
                  <a:gd name="T6" fmla="*/ 5 w 13"/>
                  <a:gd name="T7" fmla="*/ 17 h 18"/>
                  <a:gd name="T8" fmla="*/ 3 w 13"/>
                  <a:gd name="T9" fmla="*/ 14 h 18"/>
                  <a:gd name="T10" fmla="*/ 1 w 13"/>
                  <a:gd name="T11" fmla="*/ 10 h 18"/>
                  <a:gd name="T12" fmla="*/ 0 w 13"/>
                  <a:gd name="T13" fmla="*/ 6 h 18"/>
                  <a:gd name="T14" fmla="*/ 6 w 13"/>
                  <a:gd name="T15" fmla="*/ 6 h 18"/>
                  <a:gd name="T16" fmla="*/ 13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01" name="Freeform 380">
              <a:extLst>
                <a:ext uri="{FF2B5EF4-FFF2-40B4-BE49-F238E27FC236}">
                  <a16:creationId xmlns="" xmlns:a16="http://schemas.microsoft.com/office/drawing/2014/main" id="{F9F70F45-0CC0-9647-870F-2AE971FD2EF4}"/>
                </a:ext>
              </a:extLst>
            </p:cNvPr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297363" y="3851275"/>
              <a:ext cx="319087" cy="379413"/>
            </a:xfrm>
            <a:custGeom>
              <a:avLst/>
              <a:gdLst>
                <a:gd name="T0" fmla="*/ 60 w 736"/>
                <a:gd name="T1" fmla="*/ 685 h 721"/>
                <a:gd name="T2" fmla="*/ 91 w 736"/>
                <a:gd name="T3" fmla="*/ 668 h 721"/>
                <a:gd name="T4" fmla="*/ 126 w 736"/>
                <a:gd name="T5" fmla="*/ 668 h 721"/>
                <a:gd name="T6" fmla="*/ 196 w 736"/>
                <a:gd name="T7" fmla="*/ 692 h 721"/>
                <a:gd name="T8" fmla="*/ 245 w 736"/>
                <a:gd name="T9" fmla="*/ 705 h 721"/>
                <a:gd name="T10" fmla="*/ 292 w 736"/>
                <a:gd name="T11" fmla="*/ 703 h 721"/>
                <a:gd name="T12" fmla="*/ 611 w 736"/>
                <a:gd name="T13" fmla="*/ 717 h 721"/>
                <a:gd name="T14" fmla="*/ 651 w 736"/>
                <a:gd name="T15" fmla="*/ 707 h 721"/>
                <a:gd name="T16" fmla="*/ 627 w 736"/>
                <a:gd name="T17" fmla="*/ 657 h 721"/>
                <a:gd name="T18" fmla="*/ 664 w 736"/>
                <a:gd name="T19" fmla="*/ 433 h 721"/>
                <a:gd name="T20" fmla="*/ 709 w 736"/>
                <a:gd name="T21" fmla="*/ 429 h 721"/>
                <a:gd name="T22" fmla="*/ 723 w 736"/>
                <a:gd name="T23" fmla="*/ 416 h 721"/>
                <a:gd name="T24" fmla="*/ 734 w 736"/>
                <a:gd name="T25" fmla="*/ 360 h 721"/>
                <a:gd name="T26" fmla="*/ 722 w 736"/>
                <a:gd name="T27" fmla="*/ 302 h 721"/>
                <a:gd name="T28" fmla="*/ 708 w 736"/>
                <a:gd name="T29" fmla="*/ 304 h 721"/>
                <a:gd name="T30" fmla="*/ 676 w 736"/>
                <a:gd name="T31" fmla="*/ 300 h 721"/>
                <a:gd name="T32" fmla="*/ 634 w 736"/>
                <a:gd name="T33" fmla="*/ 299 h 721"/>
                <a:gd name="T34" fmla="*/ 623 w 736"/>
                <a:gd name="T35" fmla="*/ 290 h 721"/>
                <a:gd name="T36" fmla="*/ 617 w 736"/>
                <a:gd name="T37" fmla="*/ 253 h 721"/>
                <a:gd name="T38" fmla="*/ 607 w 736"/>
                <a:gd name="T39" fmla="*/ 219 h 721"/>
                <a:gd name="T40" fmla="*/ 597 w 736"/>
                <a:gd name="T41" fmla="*/ 186 h 721"/>
                <a:gd name="T42" fmla="*/ 607 w 736"/>
                <a:gd name="T43" fmla="*/ 167 h 721"/>
                <a:gd name="T44" fmla="*/ 617 w 736"/>
                <a:gd name="T45" fmla="*/ 148 h 721"/>
                <a:gd name="T46" fmla="*/ 611 w 736"/>
                <a:gd name="T47" fmla="*/ 100 h 721"/>
                <a:gd name="T48" fmla="*/ 544 w 736"/>
                <a:gd name="T49" fmla="*/ 70 h 721"/>
                <a:gd name="T50" fmla="*/ 477 w 736"/>
                <a:gd name="T51" fmla="*/ 66 h 721"/>
                <a:gd name="T52" fmla="*/ 471 w 736"/>
                <a:gd name="T53" fmla="*/ 81 h 721"/>
                <a:gd name="T54" fmla="*/ 463 w 736"/>
                <a:gd name="T55" fmla="*/ 101 h 721"/>
                <a:gd name="T56" fmla="*/ 440 w 736"/>
                <a:gd name="T57" fmla="*/ 122 h 721"/>
                <a:gd name="T58" fmla="*/ 392 w 736"/>
                <a:gd name="T59" fmla="*/ 130 h 721"/>
                <a:gd name="T60" fmla="*/ 364 w 736"/>
                <a:gd name="T61" fmla="*/ 115 h 721"/>
                <a:gd name="T62" fmla="*/ 339 w 736"/>
                <a:gd name="T63" fmla="*/ 82 h 721"/>
                <a:gd name="T64" fmla="*/ 319 w 736"/>
                <a:gd name="T65" fmla="*/ 39 h 721"/>
                <a:gd name="T66" fmla="*/ 312 w 736"/>
                <a:gd name="T67" fmla="*/ 0 h 721"/>
                <a:gd name="T68" fmla="*/ 30 w 736"/>
                <a:gd name="T69" fmla="*/ 15 h 721"/>
                <a:gd name="T70" fmla="*/ 47 w 736"/>
                <a:gd name="T71" fmla="*/ 29 h 721"/>
                <a:gd name="T72" fmla="*/ 75 w 736"/>
                <a:gd name="T73" fmla="*/ 75 h 721"/>
                <a:gd name="T74" fmla="*/ 102 w 736"/>
                <a:gd name="T75" fmla="*/ 130 h 721"/>
                <a:gd name="T76" fmla="*/ 103 w 736"/>
                <a:gd name="T77" fmla="*/ 171 h 721"/>
                <a:gd name="T78" fmla="*/ 93 w 736"/>
                <a:gd name="T79" fmla="*/ 203 h 721"/>
                <a:gd name="T80" fmla="*/ 96 w 736"/>
                <a:gd name="T81" fmla="*/ 229 h 721"/>
                <a:gd name="T82" fmla="*/ 119 w 736"/>
                <a:gd name="T83" fmla="*/ 272 h 721"/>
                <a:gd name="T84" fmla="*/ 131 w 736"/>
                <a:gd name="T85" fmla="*/ 307 h 721"/>
                <a:gd name="T86" fmla="*/ 127 w 736"/>
                <a:gd name="T87" fmla="*/ 352 h 721"/>
                <a:gd name="T88" fmla="*/ 106 w 736"/>
                <a:gd name="T89" fmla="*/ 403 h 721"/>
                <a:gd name="T90" fmla="*/ 77 w 736"/>
                <a:gd name="T91" fmla="*/ 446 h 721"/>
                <a:gd name="T92" fmla="*/ 41 w 736"/>
                <a:gd name="T93" fmla="*/ 477 h 721"/>
                <a:gd name="T94" fmla="*/ 25 w 736"/>
                <a:gd name="T95" fmla="*/ 591 h 721"/>
                <a:gd name="T96" fmla="*/ 11 w 736"/>
                <a:gd name="T97" fmla="*/ 62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2" name="Freeform 381">
              <a:extLst>
                <a:ext uri="{FF2B5EF4-FFF2-40B4-BE49-F238E27FC236}">
                  <a16:creationId xmlns="" xmlns:a16="http://schemas.microsoft.com/office/drawing/2014/main" id="{5C4601DF-16FE-834B-AAC2-CAD7CC083F67}"/>
                </a:ext>
              </a:extLst>
            </p:cNvPr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4308475" y="3824288"/>
              <a:ext cx="15875" cy="60325"/>
            </a:xfrm>
            <a:custGeom>
              <a:avLst/>
              <a:gdLst>
                <a:gd name="T0" fmla="*/ 0 w 39"/>
                <a:gd name="T1" fmla="*/ 31 h 31"/>
                <a:gd name="T2" fmla="*/ 12 w 39"/>
                <a:gd name="T3" fmla="*/ 28 h 31"/>
                <a:gd name="T4" fmla="*/ 22 w 39"/>
                <a:gd name="T5" fmla="*/ 28 h 31"/>
                <a:gd name="T6" fmla="*/ 26 w 39"/>
                <a:gd name="T7" fmla="*/ 28 h 31"/>
                <a:gd name="T8" fmla="*/ 30 w 39"/>
                <a:gd name="T9" fmla="*/ 28 h 31"/>
                <a:gd name="T10" fmla="*/ 35 w 39"/>
                <a:gd name="T11" fmla="*/ 27 h 31"/>
                <a:gd name="T12" fmla="*/ 39 w 39"/>
                <a:gd name="T13" fmla="*/ 25 h 31"/>
                <a:gd name="T14" fmla="*/ 39 w 39"/>
                <a:gd name="T15" fmla="*/ 0 h 31"/>
                <a:gd name="T16" fmla="*/ 26 w 39"/>
                <a:gd name="T17" fmla="*/ 0 h 31"/>
                <a:gd name="T18" fmla="*/ 17 w 39"/>
                <a:gd name="T19" fmla="*/ 0 h 31"/>
                <a:gd name="T20" fmla="*/ 8 w 39"/>
                <a:gd name="T21" fmla="*/ 0 h 31"/>
                <a:gd name="T22" fmla="*/ 0 w 39"/>
                <a:gd name="T23" fmla="*/ 0 h 31"/>
                <a:gd name="T24" fmla="*/ 0 w 39"/>
                <a:gd name="T25" fmla="*/ 31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3" name="Freeform 382">
              <a:extLst>
                <a:ext uri="{FF2B5EF4-FFF2-40B4-BE49-F238E27FC236}">
                  <a16:creationId xmlns="" xmlns:a16="http://schemas.microsoft.com/office/drawing/2014/main" id="{DA26D5C4-35A6-2644-9D37-D3B1894B1477}"/>
                </a:ext>
              </a:extLst>
            </p:cNvPr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410075" y="4367213"/>
              <a:ext cx="396875" cy="398462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04" name="Freeform 383">
              <a:extLst>
                <a:ext uri="{FF2B5EF4-FFF2-40B4-BE49-F238E27FC236}">
                  <a16:creationId xmlns="" xmlns:a16="http://schemas.microsoft.com/office/drawing/2014/main" id="{F6B2212F-838F-EE4A-94CD-126440733843}"/>
                </a:ext>
              </a:extLst>
            </p:cNvPr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4557713" y="2935288"/>
              <a:ext cx="411162" cy="611187"/>
            </a:xfrm>
            <a:custGeom>
              <a:avLst/>
              <a:gdLst>
                <a:gd name="T0" fmla="*/ 742 w 943"/>
                <a:gd name="T1" fmla="*/ 5 h 1172"/>
                <a:gd name="T2" fmla="*/ 765 w 943"/>
                <a:gd name="T3" fmla="*/ 23 h 1172"/>
                <a:gd name="T4" fmla="*/ 803 w 943"/>
                <a:gd name="T5" fmla="*/ 30 h 1172"/>
                <a:gd name="T6" fmla="*/ 814 w 943"/>
                <a:gd name="T7" fmla="*/ 55 h 1172"/>
                <a:gd name="T8" fmla="*/ 835 w 943"/>
                <a:gd name="T9" fmla="*/ 109 h 1172"/>
                <a:gd name="T10" fmla="*/ 837 w 943"/>
                <a:gd name="T11" fmla="*/ 187 h 1172"/>
                <a:gd name="T12" fmla="*/ 857 w 943"/>
                <a:gd name="T13" fmla="*/ 243 h 1172"/>
                <a:gd name="T14" fmla="*/ 922 w 943"/>
                <a:gd name="T15" fmla="*/ 292 h 1172"/>
                <a:gd name="T16" fmla="*/ 879 w 943"/>
                <a:gd name="T17" fmla="*/ 361 h 1172"/>
                <a:gd name="T18" fmla="*/ 851 w 943"/>
                <a:gd name="T19" fmla="*/ 410 h 1172"/>
                <a:gd name="T20" fmla="*/ 809 w 943"/>
                <a:gd name="T21" fmla="*/ 635 h 1172"/>
                <a:gd name="T22" fmla="*/ 770 w 943"/>
                <a:gd name="T23" fmla="*/ 677 h 1172"/>
                <a:gd name="T24" fmla="*/ 763 w 943"/>
                <a:gd name="T25" fmla="*/ 721 h 1172"/>
                <a:gd name="T26" fmla="*/ 745 w 943"/>
                <a:gd name="T27" fmla="*/ 735 h 1172"/>
                <a:gd name="T28" fmla="*/ 723 w 943"/>
                <a:gd name="T29" fmla="*/ 798 h 1172"/>
                <a:gd name="T30" fmla="*/ 692 w 943"/>
                <a:gd name="T31" fmla="*/ 877 h 1172"/>
                <a:gd name="T32" fmla="*/ 662 w 943"/>
                <a:gd name="T33" fmla="*/ 903 h 1172"/>
                <a:gd name="T34" fmla="*/ 664 w 943"/>
                <a:gd name="T35" fmla="*/ 934 h 1172"/>
                <a:gd name="T36" fmla="*/ 686 w 943"/>
                <a:gd name="T37" fmla="*/ 939 h 1172"/>
                <a:gd name="T38" fmla="*/ 709 w 943"/>
                <a:gd name="T39" fmla="*/ 950 h 1172"/>
                <a:gd name="T40" fmla="*/ 742 w 943"/>
                <a:gd name="T41" fmla="*/ 971 h 1172"/>
                <a:gd name="T42" fmla="*/ 756 w 943"/>
                <a:gd name="T43" fmla="*/ 1007 h 1172"/>
                <a:gd name="T44" fmla="*/ 775 w 943"/>
                <a:gd name="T45" fmla="*/ 1043 h 1172"/>
                <a:gd name="T46" fmla="*/ 803 w 943"/>
                <a:gd name="T47" fmla="*/ 1053 h 1172"/>
                <a:gd name="T48" fmla="*/ 809 w 943"/>
                <a:gd name="T49" fmla="*/ 1094 h 1172"/>
                <a:gd name="T50" fmla="*/ 718 w 943"/>
                <a:gd name="T51" fmla="*/ 1115 h 1172"/>
                <a:gd name="T52" fmla="*/ 687 w 943"/>
                <a:gd name="T53" fmla="*/ 1157 h 1172"/>
                <a:gd name="T54" fmla="*/ 598 w 943"/>
                <a:gd name="T55" fmla="*/ 1170 h 1172"/>
                <a:gd name="T56" fmla="*/ 515 w 943"/>
                <a:gd name="T57" fmla="*/ 1158 h 1172"/>
                <a:gd name="T58" fmla="*/ 464 w 943"/>
                <a:gd name="T59" fmla="*/ 1123 h 1172"/>
                <a:gd name="T60" fmla="*/ 390 w 943"/>
                <a:gd name="T61" fmla="*/ 1125 h 1172"/>
                <a:gd name="T62" fmla="*/ 319 w 943"/>
                <a:gd name="T63" fmla="*/ 1120 h 1172"/>
                <a:gd name="T64" fmla="*/ 297 w 943"/>
                <a:gd name="T65" fmla="*/ 1104 h 1172"/>
                <a:gd name="T66" fmla="*/ 294 w 943"/>
                <a:gd name="T67" fmla="*/ 1075 h 1172"/>
                <a:gd name="T68" fmla="*/ 274 w 943"/>
                <a:gd name="T69" fmla="*/ 1029 h 1172"/>
                <a:gd name="T70" fmla="*/ 216 w 943"/>
                <a:gd name="T71" fmla="*/ 974 h 1172"/>
                <a:gd name="T72" fmla="*/ 193 w 943"/>
                <a:gd name="T73" fmla="*/ 925 h 1172"/>
                <a:gd name="T74" fmla="*/ 152 w 943"/>
                <a:gd name="T75" fmla="*/ 903 h 1172"/>
                <a:gd name="T76" fmla="*/ 120 w 943"/>
                <a:gd name="T77" fmla="*/ 846 h 1172"/>
                <a:gd name="T78" fmla="*/ 97 w 943"/>
                <a:gd name="T79" fmla="*/ 788 h 1172"/>
                <a:gd name="T80" fmla="*/ 65 w 943"/>
                <a:gd name="T81" fmla="*/ 758 h 1172"/>
                <a:gd name="T82" fmla="*/ 33 w 943"/>
                <a:gd name="T83" fmla="*/ 676 h 1172"/>
                <a:gd name="T84" fmla="*/ 4 w 943"/>
                <a:gd name="T85" fmla="*/ 611 h 1172"/>
                <a:gd name="T86" fmla="*/ 18 w 943"/>
                <a:gd name="T87" fmla="*/ 577 h 1172"/>
                <a:gd name="T88" fmla="*/ 29 w 943"/>
                <a:gd name="T89" fmla="*/ 521 h 1172"/>
                <a:gd name="T90" fmla="*/ 64 w 943"/>
                <a:gd name="T91" fmla="*/ 474 h 1172"/>
                <a:gd name="T92" fmla="*/ 113 w 943"/>
                <a:gd name="T93" fmla="*/ 222 h 1172"/>
                <a:gd name="T94" fmla="*/ 123 w 943"/>
                <a:gd name="T95" fmla="*/ 179 h 1172"/>
                <a:gd name="T96" fmla="*/ 153 w 943"/>
                <a:gd name="T97" fmla="*/ 171 h 1172"/>
                <a:gd name="T98" fmla="*/ 160 w 943"/>
                <a:gd name="T99" fmla="*/ 122 h 1172"/>
                <a:gd name="T100" fmla="*/ 159 w 943"/>
                <a:gd name="T101" fmla="*/ 67 h 1172"/>
                <a:gd name="T102" fmla="*/ 679 w 943"/>
                <a:gd name="T103" fmla="*/ 69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05" name="Group 384">
              <a:extLst>
                <a:ext uri="{FF2B5EF4-FFF2-40B4-BE49-F238E27FC236}">
                  <a16:creationId xmlns="" xmlns:a16="http://schemas.microsoft.com/office/drawing/2014/main" id="{BF878737-C144-BC45-8928-E8DA69B07372}"/>
                </a:ext>
              </a:extLst>
            </p:cNvPr>
            <p:cNvGrpSpPr>
              <a:grpSpLocks/>
            </p:cNvGrpSpPr>
            <p:nvPr>
              <p:custDataLst>
                <p:tags r:id="rId273"/>
              </p:custDataLst>
            </p:nvPr>
          </p:nvGrpSpPr>
          <p:grpSpPr bwMode="auto">
            <a:xfrm>
              <a:off x="3341688" y="3136900"/>
              <a:ext cx="80962" cy="82550"/>
              <a:chOff x="2352" y="2343"/>
              <a:chExt cx="65" cy="53"/>
            </a:xfrm>
          </p:grpSpPr>
          <p:sp>
            <p:nvSpPr>
              <p:cNvPr id="406" name="Freeform 385">
                <a:extLst>
                  <a:ext uri="{FF2B5EF4-FFF2-40B4-BE49-F238E27FC236}">
                    <a16:creationId xmlns="" xmlns:a16="http://schemas.microsoft.com/office/drawing/2014/main" id="{836F8F07-B80C-8E46-B796-976E272158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7" name="Freeform 386">
                <a:extLst>
                  <a:ext uri="{FF2B5EF4-FFF2-40B4-BE49-F238E27FC236}">
                    <a16:creationId xmlns="" xmlns:a16="http://schemas.microsoft.com/office/drawing/2014/main" id="{BE61286F-54CF-4E46-83D1-6D717AC5A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8" name="Freeform 387">
                <a:extLst>
                  <a:ext uri="{FF2B5EF4-FFF2-40B4-BE49-F238E27FC236}">
                    <a16:creationId xmlns="" xmlns:a16="http://schemas.microsoft.com/office/drawing/2014/main" id="{1D13AAFD-2F0E-6647-AE65-99D3DD6733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09" name="Freeform 388">
                <a:extLst>
                  <a:ext uri="{FF2B5EF4-FFF2-40B4-BE49-F238E27FC236}">
                    <a16:creationId xmlns="" xmlns:a16="http://schemas.microsoft.com/office/drawing/2014/main" id="{11C0F05A-472F-A34C-BC02-9BFDBEC021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0" name="Freeform 389">
                <a:extLst>
                  <a:ext uri="{FF2B5EF4-FFF2-40B4-BE49-F238E27FC236}">
                    <a16:creationId xmlns="" xmlns:a16="http://schemas.microsoft.com/office/drawing/2014/main" id="{EDD86C18-9D40-1542-A8BA-9B8C7A05D8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1" name="Freeform 390">
                <a:extLst>
                  <a:ext uri="{FF2B5EF4-FFF2-40B4-BE49-F238E27FC236}">
                    <a16:creationId xmlns="" xmlns:a16="http://schemas.microsoft.com/office/drawing/2014/main" id="{90437BB7-6F9A-7645-8DA5-2D16A8D755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412" name="Group 391">
              <a:extLst>
                <a:ext uri="{FF2B5EF4-FFF2-40B4-BE49-F238E27FC236}">
                  <a16:creationId xmlns="" xmlns:a16="http://schemas.microsoft.com/office/drawing/2014/main" id="{601EBA10-A8FB-4A4E-A2A1-EECA567BF405}"/>
                </a:ext>
              </a:extLst>
            </p:cNvPr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1187450" y="1196975"/>
              <a:ext cx="1897063" cy="1133475"/>
              <a:chOff x="527" y="1110"/>
              <a:chExt cx="1410" cy="709"/>
            </a:xfrm>
          </p:grpSpPr>
          <p:sp>
            <p:nvSpPr>
              <p:cNvPr id="413" name="Freeform 392">
                <a:extLst>
                  <a:ext uri="{FF2B5EF4-FFF2-40B4-BE49-F238E27FC236}">
                    <a16:creationId xmlns="" xmlns:a16="http://schemas.microsoft.com/office/drawing/2014/main" id="{7092023D-EB8A-9F49-9E09-86D25501DF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4" name="Freeform 393">
                <a:extLst>
                  <a:ext uri="{FF2B5EF4-FFF2-40B4-BE49-F238E27FC236}">
                    <a16:creationId xmlns="" xmlns:a16="http://schemas.microsoft.com/office/drawing/2014/main" id="{DD908E65-CCA4-2F4A-AE4A-115147AF6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5" name="Freeform 394">
                <a:extLst>
                  <a:ext uri="{FF2B5EF4-FFF2-40B4-BE49-F238E27FC236}">
                    <a16:creationId xmlns="" xmlns:a16="http://schemas.microsoft.com/office/drawing/2014/main" id="{18B6ABD1-4E36-3F43-A77B-FAAA657EF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6" name="Freeform 395">
                <a:extLst>
                  <a:ext uri="{FF2B5EF4-FFF2-40B4-BE49-F238E27FC236}">
                    <a16:creationId xmlns="" xmlns:a16="http://schemas.microsoft.com/office/drawing/2014/main" id="{CC3E3345-69DC-F14A-B484-F42A0BCEB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7" name="Freeform 396">
                <a:extLst>
                  <a:ext uri="{FF2B5EF4-FFF2-40B4-BE49-F238E27FC236}">
                    <a16:creationId xmlns="" xmlns:a16="http://schemas.microsoft.com/office/drawing/2014/main" id="{5337FD25-A3AD-4145-9628-3209D25CD7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8" name="Freeform 397">
                <a:extLst>
                  <a:ext uri="{FF2B5EF4-FFF2-40B4-BE49-F238E27FC236}">
                    <a16:creationId xmlns="" xmlns:a16="http://schemas.microsoft.com/office/drawing/2014/main" id="{C244ECA0-411B-0746-A305-1A8C68DA84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19" name="Freeform 398">
                <a:extLst>
                  <a:ext uri="{FF2B5EF4-FFF2-40B4-BE49-F238E27FC236}">
                    <a16:creationId xmlns="" xmlns:a16="http://schemas.microsoft.com/office/drawing/2014/main" id="{213EB187-358D-8947-944D-F5E7A4FCA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0" name="Freeform 399">
                <a:extLst>
                  <a:ext uri="{FF2B5EF4-FFF2-40B4-BE49-F238E27FC236}">
                    <a16:creationId xmlns="" xmlns:a16="http://schemas.microsoft.com/office/drawing/2014/main" id="{A46B3795-49BB-0147-AFD7-2F4C89CD43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1" name="Freeform 400">
                <a:extLst>
                  <a:ext uri="{FF2B5EF4-FFF2-40B4-BE49-F238E27FC236}">
                    <a16:creationId xmlns="" xmlns:a16="http://schemas.microsoft.com/office/drawing/2014/main" id="{7647A916-A871-CE42-A766-A165DC91D0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2" name="Freeform 401">
                <a:extLst>
                  <a:ext uri="{FF2B5EF4-FFF2-40B4-BE49-F238E27FC236}">
                    <a16:creationId xmlns="" xmlns:a16="http://schemas.microsoft.com/office/drawing/2014/main" id="{B7338F12-23B8-9640-866E-75071D3AAF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3" name="Freeform 402">
                <a:extLst>
                  <a:ext uri="{FF2B5EF4-FFF2-40B4-BE49-F238E27FC236}">
                    <a16:creationId xmlns="" xmlns:a16="http://schemas.microsoft.com/office/drawing/2014/main" id="{49E71737-0E98-734C-8A7C-8714F3458B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4" name="Freeform 403">
                <a:extLst>
                  <a:ext uri="{FF2B5EF4-FFF2-40B4-BE49-F238E27FC236}">
                    <a16:creationId xmlns="" xmlns:a16="http://schemas.microsoft.com/office/drawing/2014/main" id="{E11DF837-DE87-7545-A7BD-0922A3136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5" name="Freeform 404">
                <a:extLst>
                  <a:ext uri="{FF2B5EF4-FFF2-40B4-BE49-F238E27FC236}">
                    <a16:creationId xmlns="" xmlns:a16="http://schemas.microsoft.com/office/drawing/2014/main" id="{4D272641-D174-8241-8B46-341CE0DD22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6" name="Freeform 405">
                <a:extLst>
                  <a:ext uri="{FF2B5EF4-FFF2-40B4-BE49-F238E27FC236}">
                    <a16:creationId xmlns="" xmlns:a16="http://schemas.microsoft.com/office/drawing/2014/main" id="{59BA2666-C2FC-D441-9A71-A040B484D8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7" name="Freeform 406">
                <a:extLst>
                  <a:ext uri="{FF2B5EF4-FFF2-40B4-BE49-F238E27FC236}">
                    <a16:creationId xmlns="" xmlns:a16="http://schemas.microsoft.com/office/drawing/2014/main" id="{F8F83FB6-0A20-E744-B409-1D3528BCA7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8" name="Freeform 407">
                <a:extLst>
                  <a:ext uri="{FF2B5EF4-FFF2-40B4-BE49-F238E27FC236}">
                    <a16:creationId xmlns="" xmlns:a16="http://schemas.microsoft.com/office/drawing/2014/main" id="{BD8F351A-38EC-F242-82C0-23F5D7ABD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9" name="Freeform 408">
                <a:extLst>
                  <a:ext uri="{FF2B5EF4-FFF2-40B4-BE49-F238E27FC236}">
                    <a16:creationId xmlns="" xmlns:a16="http://schemas.microsoft.com/office/drawing/2014/main" id="{45DA8526-71B4-DA41-A6ED-9CDC755F17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0" name="Freeform 409">
                <a:extLst>
                  <a:ext uri="{FF2B5EF4-FFF2-40B4-BE49-F238E27FC236}">
                    <a16:creationId xmlns="" xmlns:a16="http://schemas.microsoft.com/office/drawing/2014/main" id="{DBDEB456-43BB-DC4D-A669-D260BFD59C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1" name="Freeform 410">
                <a:extLst>
                  <a:ext uri="{FF2B5EF4-FFF2-40B4-BE49-F238E27FC236}">
                    <a16:creationId xmlns="" xmlns:a16="http://schemas.microsoft.com/office/drawing/2014/main" id="{2C23A1B7-8B44-7D43-B722-EAEBD3ABF3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2" name="Freeform 411">
                <a:extLst>
                  <a:ext uri="{FF2B5EF4-FFF2-40B4-BE49-F238E27FC236}">
                    <a16:creationId xmlns="" xmlns:a16="http://schemas.microsoft.com/office/drawing/2014/main" id="{9EBB6D78-5660-5F42-A4F4-B260F33034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3" name="Freeform 412">
                <a:extLst>
                  <a:ext uri="{FF2B5EF4-FFF2-40B4-BE49-F238E27FC236}">
                    <a16:creationId xmlns="" xmlns:a16="http://schemas.microsoft.com/office/drawing/2014/main" id="{D6D8B4C9-85FC-1F4B-A3CA-F70D85C7DE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4" name="Freeform 413">
                <a:extLst>
                  <a:ext uri="{FF2B5EF4-FFF2-40B4-BE49-F238E27FC236}">
                    <a16:creationId xmlns="" xmlns:a16="http://schemas.microsoft.com/office/drawing/2014/main" id="{586B9A24-4DB8-4A44-BF2E-BB6B3D7714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5" name="Freeform 414">
                <a:extLst>
                  <a:ext uri="{FF2B5EF4-FFF2-40B4-BE49-F238E27FC236}">
                    <a16:creationId xmlns="" xmlns:a16="http://schemas.microsoft.com/office/drawing/2014/main" id="{F82145DA-AAC6-E94D-A7EF-7FFF24702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6" name="Freeform 415">
                <a:extLst>
                  <a:ext uri="{FF2B5EF4-FFF2-40B4-BE49-F238E27FC236}">
                    <a16:creationId xmlns="" xmlns:a16="http://schemas.microsoft.com/office/drawing/2014/main" id="{432F23FB-F927-B84A-927E-F1E6E6A429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7" name="Freeform 416">
                <a:extLst>
                  <a:ext uri="{FF2B5EF4-FFF2-40B4-BE49-F238E27FC236}">
                    <a16:creationId xmlns="" xmlns:a16="http://schemas.microsoft.com/office/drawing/2014/main" id="{CA7EAACC-7991-F24B-A10E-408EABFBCE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8" name="Freeform 417">
                <a:extLst>
                  <a:ext uri="{FF2B5EF4-FFF2-40B4-BE49-F238E27FC236}">
                    <a16:creationId xmlns="" xmlns:a16="http://schemas.microsoft.com/office/drawing/2014/main" id="{2633B6DE-BEA1-F949-89AC-02F5B136D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9" name="Freeform 418">
                <a:extLst>
                  <a:ext uri="{FF2B5EF4-FFF2-40B4-BE49-F238E27FC236}">
                    <a16:creationId xmlns="" xmlns:a16="http://schemas.microsoft.com/office/drawing/2014/main" id="{F3314C6C-D1D5-EC4D-8F2E-8438692F26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0" name="Freeform 419">
                <a:extLst>
                  <a:ext uri="{FF2B5EF4-FFF2-40B4-BE49-F238E27FC236}">
                    <a16:creationId xmlns="" xmlns:a16="http://schemas.microsoft.com/office/drawing/2014/main" id="{1B77B781-A09C-2A4D-847A-A0CD5BA5EB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1" name="Freeform 420">
                <a:extLst>
                  <a:ext uri="{FF2B5EF4-FFF2-40B4-BE49-F238E27FC236}">
                    <a16:creationId xmlns="" xmlns:a16="http://schemas.microsoft.com/office/drawing/2014/main" id="{E26D7B08-3CF9-D64C-AC5C-52BDB7C1B2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2" name="Freeform 421">
                <a:extLst>
                  <a:ext uri="{FF2B5EF4-FFF2-40B4-BE49-F238E27FC236}">
                    <a16:creationId xmlns="" xmlns:a16="http://schemas.microsoft.com/office/drawing/2014/main" id="{6B2DDB7E-7D69-FF47-857B-74E31F100B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3" name="Freeform 422">
                <a:extLst>
                  <a:ext uri="{FF2B5EF4-FFF2-40B4-BE49-F238E27FC236}">
                    <a16:creationId xmlns="" xmlns:a16="http://schemas.microsoft.com/office/drawing/2014/main" id="{CD4C6146-6A11-5349-ADDA-35316ABEBD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4" name="Freeform 423">
                <a:extLst>
                  <a:ext uri="{FF2B5EF4-FFF2-40B4-BE49-F238E27FC236}">
                    <a16:creationId xmlns="" xmlns:a16="http://schemas.microsoft.com/office/drawing/2014/main" id="{AEA53CE0-0B4A-0749-843A-FA09E8BD35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5" name="Freeform 424">
                <a:extLst>
                  <a:ext uri="{FF2B5EF4-FFF2-40B4-BE49-F238E27FC236}">
                    <a16:creationId xmlns="" xmlns:a16="http://schemas.microsoft.com/office/drawing/2014/main" id="{F22C18FF-AD6F-C144-8643-3250521160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6" name="Freeform 425">
                <a:extLst>
                  <a:ext uri="{FF2B5EF4-FFF2-40B4-BE49-F238E27FC236}">
                    <a16:creationId xmlns="" xmlns:a16="http://schemas.microsoft.com/office/drawing/2014/main" id="{C9CC3B7D-9EEF-5C44-8E79-5AC53741F9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7" name="Freeform 426">
                <a:extLst>
                  <a:ext uri="{FF2B5EF4-FFF2-40B4-BE49-F238E27FC236}">
                    <a16:creationId xmlns="" xmlns:a16="http://schemas.microsoft.com/office/drawing/2014/main" id="{70F2AEE4-4C7E-194F-9883-465EC6755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8" name="Freeform 427">
                <a:extLst>
                  <a:ext uri="{FF2B5EF4-FFF2-40B4-BE49-F238E27FC236}">
                    <a16:creationId xmlns="" xmlns:a16="http://schemas.microsoft.com/office/drawing/2014/main" id="{285F6AFD-1D8B-B741-B5C3-5EEF147E09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9" name="Freeform 428">
                <a:extLst>
                  <a:ext uri="{FF2B5EF4-FFF2-40B4-BE49-F238E27FC236}">
                    <a16:creationId xmlns="" xmlns:a16="http://schemas.microsoft.com/office/drawing/2014/main" id="{68126E31-120C-E741-A2F9-9742FE0A41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0" name="Freeform 429">
                <a:extLst>
                  <a:ext uri="{FF2B5EF4-FFF2-40B4-BE49-F238E27FC236}">
                    <a16:creationId xmlns="" xmlns:a16="http://schemas.microsoft.com/office/drawing/2014/main" id="{8F6C8C79-33C7-5540-AC77-891304307B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1" name="Freeform 430">
                <a:extLst>
                  <a:ext uri="{FF2B5EF4-FFF2-40B4-BE49-F238E27FC236}">
                    <a16:creationId xmlns="" xmlns:a16="http://schemas.microsoft.com/office/drawing/2014/main" id="{776F3E90-0D60-004C-BA39-16547C6B50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2" name="Freeform 431">
                <a:extLst>
                  <a:ext uri="{FF2B5EF4-FFF2-40B4-BE49-F238E27FC236}">
                    <a16:creationId xmlns="" xmlns:a16="http://schemas.microsoft.com/office/drawing/2014/main" id="{D219A259-9595-4842-8925-4830BAE72A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3" name="Freeform 432">
                <a:extLst>
                  <a:ext uri="{FF2B5EF4-FFF2-40B4-BE49-F238E27FC236}">
                    <a16:creationId xmlns="" xmlns:a16="http://schemas.microsoft.com/office/drawing/2014/main" id="{2748DB43-0CF3-D349-825A-5DEFB08034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54" name="Freeform 433">
                <a:extLst>
                  <a:ext uri="{FF2B5EF4-FFF2-40B4-BE49-F238E27FC236}">
                    <a16:creationId xmlns="" xmlns:a16="http://schemas.microsoft.com/office/drawing/2014/main" id="{7B71E525-6950-4B4C-A8D6-5FC7F880E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55" name="Freeform 434">
              <a:extLst>
                <a:ext uri="{FF2B5EF4-FFF2-40B4-BE49-F238E27FC236}">
                  <a16:creationId xmlns="" xmlns:a16="http://schemas.microsoft.com/office/drawing/2014/main" id="{C0D814B6-DD56-8848-93F8-7C9EECC40D7E}"/>
                </a:ext>
              </a:extLst>
            </p:cNvPr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757738" y="3541713"/>
              <a:ext cx="127000" cy="158750"/>
            </a:xfrm>
            <a:custGeom>
              <a:avLst/>
              <a:gdLst>
                <a:gd name="T0" fmla="*/ 265 w 292"/>
                <a:gd name="T1" fmla="*/ 10 h 308"/>
                <a:gd name="T2" fmla="*/ 276 w 292"/>
                <a:gd name="T3" fmla="*/ 37 h 308"/>
                <a:gd name="T4" fmla="*/ 286 w 292"/>
                <a:gd name="T5" fmla="*/ 91 h 308"/>
                <a:gd name="T6" fmla="*/ 292 w 292"/>
                <a:gd name="T7" fmla="*/ 144 h 308"/>
                <a:gd name="T8" fmla="*/ 291 w 292"/>
                <a:gd name="T9" fmla="*/ 161 h 308"/>
                <a:gd name="T10" fmla="*/ 286 w 292"/>
                <a:gd name="T11" fmla="*/ 179 h 308"/>
                <a:gd name="T12" fmla="*/ 269 w 292"/>
                <a:gd name="T13" fmla="*/ 206 h 308"/>
                <a:gd name="T14" fmla="*/ 231 w 292"/>
                <a:gd name="T15" fmla="*/ 185 h 308"/>
                <a:gd name="T16" fmla="*/ 165 w 292"/>
                <a:gd name="T17" fmla="*/ 258 h 308"/>
                <a:gd name="T18" fmla="*/ 132 w 292"/>
                <a:gd name="T19" fmla="*/ 278 h 308"/>
                <a:gd name="T20" fmla="*/ 59 w 292"/>
                <a:gd name="T21" fmla="*/ 296 h 308"/>
                <a:gd name="T22" fmla="*/ 32 w 292"/>
                <a:gd name="T23" fmla="*/ 308 h 308"/>
                <a:gd name="T24" fmla="*/ 6 w 292"/>
                <a:gd name="T25" fmla="*/ 308 h 308"/>
                <a:gd name="T26" fmla="*/ 9 w 292"/>
                <a:gd name="T27" fmla="*/ 297 h 308"/>
                <a:gd name="T28" fmla="*/ 11 w 292"/>
                <a:gd name="T29" fmla="*/ 286 h 308"/>
                <a:gd name="T30" fmla="*/ 7 w 292"/>
                <a:gd name="T31" fmla="*/ 265 h 308"/>
                <a:gd name="T32" fmla="*/ 2 w 292"/>
                <a:gd name="T33" fmla="*/ 246 h 308"/>
                <a:gd name="T34" fmla="*/ 0 w 292"/>
                <a:gd name="T35" fmla="*/ 228 h 308"/>
                <a:gd name="T36" fmla="*/ 3 w 292"/>
                <a:gd name="T37" fmla="*/ 205 h 308"/>
                <a:gd name="T38" fmla="*/ 12 w 292"/>
                <a:gd name="T39" fmla="*/ 188 h 308"/>
                <a:gd name="T40" fmla="*/ 26 w 292"/>
                <a:gd name="T41" fmla="*/ 174 h 308"/>
                <a:gd name="T42" fmla="*/ 42 w 292"/>
                <a:gd name="T43" fmla="*/ 161 h 308"/>
                <a:gd name="T44" fmla="*/ 77 w 292"/>
                <a:gd name="T45" fmla="*/ 135 h 308"/>
                <a:gd name="T46" fmla="*/ 93 w 292"/>
                <a:gd name="T47" fmla="*/ 119 h 308"/>
                <a:gd name="T48" fmla="*/ 105 w 292"/>
                <a:gd name="T49" fmla="*/ 98 h 308"/>
                <a:gd name="T50" fmla="*/ 98 w 292"/>
                <a:gd name="T51" fmla="*/ 96 h 308"/>
                <a:gd name="T52" fmla="*/ 92 w 292"/>
                <a:gd name="T53" fmla="*/ 91 h 308"/>
                <a:gd name="T54" fmla="*/ 82 w 292"/>
                <a:gd name="T55" fmla="*/ 73 h 308"/>
                <a:gd name="T56" fmla="*/ 74 w 292"/>
                <a:gd name="T57" fmla="*/ 50 h 308"/>
                <a:gd name="T58" fmla="*/ 72 w 292"/>
                <a:gd name="T59" fmla="*/ 24 h 308"/>
                <a:gd name="T60" fmla="*/ 90 w 292"/>
                <a:gd name="T61" fmla="*/ 19 h 308"/>
                <a:gd name="T62" fmla="*/ 105 w 292"/>
                <a:gd name="T63" fmla="*/ 20 h 308"/>
                <a:gd name="T64" fmla="*/ 132 w 292"/>
                <a:gd name="T65" fmla="*/ 24 h 308"/>
                <a:gd name="T66" fmla="*/ 169 w 292"/>
                <a:gd name="T67" fmla="*/ 21 h 308"/>
                <a:gd name="T68" fmla="*/ 210 w 292"/>
                <a:gd name="T69" fmla="*/ 12 h 308"/>
                <a:gd name="T70" fmla="*/ 259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6" name="Freeform 435">
              <a:extLst>
                <a:ext uri="{FF2B5EF4-FFF2-40B4-BE49-F238E27FC236}">
                  <a16:creationId xmlns="" xmlns:a16="http://schemas.microsoft.com/office/drawing/2014/main" id="{75987903-BC33-4B4F-AC3E-099EE0E33744}"/>
                </a:ext>
              </a:extLst>
            </p:cNvPr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864100" y="3692525"/>
              <a:ext cx="6350" cy="57150"/>
            </a:xfrm>
            <a:custGeom>
              <a:avLst/>
              <a:gdLst>
                <a:gd name="T0" fmla="*/ 11 w 14"/>
                <a:gd name="T1" fmla="*/ 0 h 7"/>
                <a:gd name="T2" fmla="*/ 13 w 14"/>
                <a:gd name="T3" fmla="*/ 3 h 7"/>
                <a:gd name="T4" fmla="*/ 14 w 14"/>
                <a:gd name="T5" fmla="*/ 7 h 7"/>
                <a:gd name="T6" fmla="*/ 0 w 14"/>
                <a:gd name="T7" fmla="*/ 7 h 7"/>
                <a:gd name="T8" fmla="*/ 11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7" name="Freeform 436">
              <a:extLst>
                <a:ext uri="{FF2B5EF4-FFF2-40B4-BE49-F238E27FC236}">
                  <a16:creationId xmlns="" xmlns:a16="http://schemas.microsoft.com/office/drawing/2014/main" id="{EC074331-633C-E24C-A051-926B83A44278}"/>
                </a:ext>
              </a:extLst>
            </p:cNvPr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354513" y="2928938"/>
              <a:ext cx="249237" cy="500062"/>
            </a:xfrm>
            <a:custGeom>
              <a:avLst/>
              <a:gdLst>
                <a:gd name="T0" fmla="*/ 81 w 581"/>
                <a:gd name="T1" fmla="*/ 115 h 955"/>
                <a:gd name="T2" fmla="*/ 104 w 581"/>
                <a:gd name="T3" fmla="*/ 152 h 955"/>
                <a:gd name="T4" fmla="*/ 111 w 581"/>
                <a:gd name="T5" fmla="*/ 180 h 955"/>
                <a:gd name="T6" fmla="*/ 95 w 581"/>
                <a:gd name="T7" fmla="*/ 234 h 955"/>
                <a:gd name="T8" fmla="*/ 96 w 581"/>
                <a:gd name="T9" fmla="*/ 325 h 955"/>
                <a:gd name="T10" fmla="*/ 93 w 581"/>
                <a:gd name="T11" fmla="*/ 363 h 955"/>
                <a:gd name="T12" fmla="*/ 82 w 581"/>
                <a:gd name="T13" fmla="*/ 396 h 955"/>
                <a:gd name="T14" fmla="*/ 59 w 581"/>
                <a:gd name="T15" fmla="*/ 429 h 955"/>
                <a:gd name="T16" fmla="*/ 31 w 581"/>
                <a:gd name="T17" fmla="*/ 461 h 955"/>
                <a:gd name="T18" fmla="*/ 17 w 581"/>
                <a:gd name="T19" fmla="*/ 481 h 955"/>
                <a:gd name="T20" fmla="*/ 2 w 581"/>
                <a:gd name="T21" fmla="*/ 542 h 955"/>
                <a:gd name="T22" fmla="*/ 69 w 581"/>
                <a:gd name="T23" fmla="*/ 616 h 955"/>
                <a:gd name="T24" fmla="*/ 69 w 581"/>
                <a:gd name="T25" fmla="*/ 634 h 955"/>
                <a:gd name="T26" fmla="*/ 74 w 581"/>
                <a:gd name="T27" fmla="*/ 665 h 955"/>
                <a:gd name="T28" fmla="*/ 74 w 581"/>
                <a:gd name="T29" fmla="*/ 696 h 955"/>
                <a:gd name="T30" fmla="*/ 78 w 581"/>
                <a:gd name="T31" fmla="*/ 733 h 955"/>
                <a:gd name="T32" fmla="*/ 94 w 581"/>
                <a:gd name="T33" fmla="*/ 778 h 955"/>
                <a:gd name="T34" fmla="*/ 105 w 581"/>
                <a:gd name="T35" fmla="*/ 792 h 955"/>
                <a:gd name="T36" fmla="*/ 68 w 581"/>
                <a:gd name="T37" fmla="*/ 794 h 955"/>
                <a:gd name="T38" fmla="*/ 42 w 581"/>
                <a:gd name="T39" fmla="*/ 802 h 955"/>
                <a:gd name="T40" fmla="*/ 36 w 581"/>
                <a:gd name="T41" fmla="*/ 812 h 955"/>
                <a:gd name="T42" fmla="*/ 42 w 581"/>
                <a:gd name="T43" fmla="*/ 842 h 955"/>
                <a:gd name="T44" fmla="*/ 69 w 581"/>
                <a:gd name="T45" fmla="*/ 876 h 955"/>
                <a:gd name="T46" fmla="*/ 87 w 581"/>
                <a:gd name="T47" fmla="*/ 899 h 955"/>
                <a:gd name="T48" fmla="*/ 100 w 581"/>
                <a:gd name="T49" fmla="*/ 927 h 955"/>
                <a:gd name="T50" fmla="*/ 156 w 581"/>
                <a:gd name="T51" fmla="*/ 955 h 955"/>
                <a:gd name="T52" fmla="*/ 189 w 581"/>
                <a:gd name="T53" fmla="*/ 942 h 955"/>
                <a:gd name="T54" fmla="*/ 248 w 581"/>
                <a:gd name="T55" fmla="*/ 929 h 955"/>
                <a:gd name="T56" fmla="*/ 279 w 581"/>
                <a:gd name="T57" fmla="*/ 921 h 955"/>
                <a:gd name="T58" fmla="*/ 297 w 581"/>
                <a:gd name="T59" fmla="*/ 904 h 955"/>
                <a:gd name="T60" fmla="*/ 302 w 581"/>
                <a:gd name="T61" fmla="*/ 892 h 955"/>
                <a:gd name="T62" fmla="*/ 302 w 581"/>
                <a:gd name="T63" fmla="*/ 868 h 955"/>
                <a:gd name="T64" fmla="*/ 338 w 581"/>
                <a:gd name="T65" fmla="*/ 871 h 955"/>
                <a:gd name="T66" fmla="*/ 367 w 581"/>
                <a:gd name="T67" fmla="*/ 866 h 955"/>
                <a:gd name="T68" fmla="*/ 389 w 581"/>
                <a:gd name="T69" fmla="*/ 856 h 955"/>
                <a:gd name="T70" fmla="*/ 405 w 581"/>
                <a:gd name="T71" fmla="*/ 842 h 955"/>
                <a:gd name="T72" fmla="*/ 432 w 581"/>
                <a:gd name="T73" fmla="*/ 807 h 955"/>
                <a:gd name="T74" fmla="*/ 460 w 581"/>
                <a:gd name="T75" fmla="*/ 773 h 955"/>
                <a:gd name="T76" fmla="*/ 477 w 581"/>
                <a:gd name="T77" fmla="*/ 760 h 955"/>
                <a:gd name="T78" fmla="*/ 502 w 581"/>
                <a:gd name="T79" fmla="*/ 752 h 955"/>
                <a:gd name="T80" fmla="*/ 521 w 581"/>
                <a:gd name="T81" fmla="*/ 745 h 955"/>
                <a:gd name="T82" fmla="*/ 499 w 581"/>
                <a:gd name="T83" fmla="*/ 697 h 955"/>
                <a:gd name="T84" fmla="*/ 484 w 581"/>
                <a:gd name="T85" fmla="*/ 653 h 955"/>
                <a:gd name="T86" fmla="*/ 472 w 581"/>
                <a:gd name="T87" fmla="*/ 623 h 955"/>
                <a:gd name="T88" fmla="*/ 481 w 581"/>
                <a:gd name="T89" fmla="*/ 610 h 955"/>
                <a:gd name="T90" fmla="*/ 487 w 581"/>
                <a:gd name="T91" fmla="*/ 579 h 955"/>
                <a:gd name="T92" fmla="*/ 494 w 581"/>
                <a:gd name="T93" fmla="*/ 541 h 955"/>
                <a:gd name="T94" fmla="*/ 505 w 581"/>
                <a:gd name="T95" fmla="*/ 519 h 955"/>
                <a:gd name="T96" fmla="*/ 532 w 581"/>
                <a:gd name="T97" fmla="*/ 486 h 955"/>
                <a:gd name="T98" fmla="*/ 570 w 581"/>
                <a:gd name="T99" fmla="*/ 461 h 955"/>
                <a:gd name="T100" fmla="*/ 129 w 581"/>
                <a:gd name="T101" fmla="*/ 0 h 955"/>
                <a:gd name="T102" fmla="*/ 98 w 581"/>
                <a:gd name="T103" fmla="*/ 5 h 955"/>
                <a:gd name="T104" fmla="*/ 69 w 581"/>
                <a:gd name="T105" fmla="*/ 24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58" name="Freeform 437">
              <a:extLst>
                <a:ext uri="{FF2B5EF4-FFF2-40B4-BE49-F238E27FC236}">
                  <a16:creationId xmlns="" xmlns:a16="http://schemas.microsoft.com/office/drawing/2014/main" id="{0AAB3FFC-9710-3F43-8982-3AC2DB8FCC71}"/>
                </a:ext>
              </a:extLst>
            </p:cNvPr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030663" y="2311400"/>
              <a:ext cx="15875" cy="57150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59" name="Group 438">
              <a:extLst>
                <a:ext uri="{FF2B5EF4-FFF2-40B4-BE49-F238E27FC236}">
                  <a16:creationId xmlns="" xmlns:a16="http://schemas.microsoft.com/office/drawing/2014/main" id="{34F37B9F-BB26-FF4F-A753-8A1E16488F2E}"/>
                </a:ext>
              </a:extLst>
            </p:cNvPr>
            <p:cNvGrpSpPr>
              <a:grpSpLocks/>
            </p:cNvGrpSpPr>
            <p:nvPr>
              <p:custDataLst>
                <p:tags r:id="rId279"/>
              </p:custDataLst>
            </p:nvPr>
          </p:nvGrpSpPr>
          <p:grpSpPr bwMode="auto">
            <a:xfrm>
              <a:off x="2330450" y="4371975"/>
              <a:ext cx="384175" cy="1031875"/>
              <a:chOff x="1589" y="3126"/>
              <a:chExt cx="290" cy="657"/>
            </a:xfrm>
          </p:grpSpPr>
          <p:sp>
            <p:nvSpPr>
              <p:cNvPr id="460" name="Freeform 439">
                <a:extLst>
                  <a:ext uri="{FF2B5EF4-FFF2-40B4-BE49-F238E27FC236}">
                    <a16:creationId xmlns="" xmlns:a16="http://schemas.microsoft.com/office/drawing/2014/main" id="{8ED02A5A-65CE-2B49-BD89-D94799E288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1" name="Freeform 440">
                <a:extLst>
                  <a:ext uri="{FF2B5EF4-FFF2-40B4-BE49-F238E27FC236}">
                    <a16:creationId xmlns="" xmlns:a16="http://schemas.microsoft.com/office/drawing/2014/main" id="{91B8021B-E442-464C-A3A9-83E6F69DDD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62" name="Freeform 441">
                <a:extLst>
                  <a:ext uri="{FF2B5EF4-FFF2-40B4-BE49-F238E27FC236}">
                    <a16:creationId xmlns="" xmlns:a16="http://schemas.microsoft.com/office/drawing/2014/main" id="{D6BB38CF-0CC9-4F4D-AE95-A38790466A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463" name="Freeform 442">
              <a:extLst>
                <a:ext uri="{FF2B5EF4-FFF2-40B4-BE49-F238E27FC236}">
                  <a16:creationId xmlns="" xmlns:a16="http://schemas.microsoft.com/office/drawing/2014/main" id="{6EB38865-DB23-7048-A753-3B40F35F8125}"/>
                </a:ext>
              </a:extLst>
            </p:cNvPr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5040313" y="2324100"/>
              <a:ext cx="123825" cy="109538"/>
            </a:xfrm>
            <a:custGeom>
              <a:avLst/>
              <a:gdLst>
                <a:gd name="T0" fmla="*/ 33 w 279"/>
                <a:gd name="T1" fmla="*/ 87 h 204"/>
                <a:gd name="T2" fmla="*/ 59 w 279"/>
                <a:gd name="T3" fmla="*/ 142 h 204"/>
                <a:gd name="T4" fmla="*/ 59 w 279"/>
                <a:gd name="T5" fmla="*/ 179 h 204"/>
                <a:gd name="T6" fmla="*/ 102 w 279"/>
                <a:gd name="T7" fmla="*/ 196 h 204"/>
                <a:gd name="T8" fmla="*/ 122 w 279"/>
                <a:gd name="T9" fmla="*/ 202 h 204"/>
                <a:gd name="T10" fmla="*/ 139 w 279"/>
                <a:gd name="T11" fmla="*/ 204 h 204"/>
                <a:gd name="T12" fmla="*/ 146 w 279"/>
                <a:gd name="T13" fmla="*/ 201 h 204"/>
                <a:gd name="T14" fmla="*/ 151 w 279"/>
                <a:gd name="T15" fmla="*/ 194 h 204"/>
                <a:gd name="T16" fmla="*/ 160 w 279"/>
                <a:gd name="T17" fmla="*/ 172 h 204"/>
                <a:gd name="T18" fmla="*/ 172 w 279"/>
                <a:gd name="T19" fmla="*/ 149 h 204"/>
                <a:gd name="T20" fmla="*/ 181 w 279"/>
                <a:gd name="T21" fmla="*/ 141 h 204"/>
                <a:gd name="T22" fmla="*/ 192 w 279"/>
                <a:gd name="T23" fmla="*/ 136 h 204"/>
                <a:gd name="T24" fmla="*/ 209 w 279"/>
                <a:gd name="T25" fmla="*/ 138 h 204"/>
                <a:gd name="T26" fmla="*/ 220 w 279"/>
                <a:gd name="T27" fmla="*/ 142 h 204"/>
                <a:gd name="T28" fmla="*/ 228 w 279"/>
                <a:gd name="T29" fmla="*/ 148 h 204"/>
                <a:gd name="T30" fmla="*/ 231 w 279"/>
                <a:gd name="T31" fmla="*/ 154 h 204"/>
                <a:gd name="T32" fmla="*/ 234 w 279"/>
                <a:gd name="T33" fmla="*/ 164 h 204"/>
                <a:gd name="T34" fmla="*/ 231 w 279"/>
                <a:gd name="T35" fmla="*/ 167 h 204"/>
                <a:gd name="T36" fmla="*/ 234 w 279"/>
                <a:gd name="T37" fmla="*/ 153 h 204"/>
                <a:gd name="T38" fmla="*/ 238 w 279"/>
                <a:gd name="T39" fmla="*/ 140 h 204"/>
                <a:gd name="T40" fmla="*/ 245 w 279"/>
                <a:gd name="T41" fmla="*/ 117 h 204"/>
                <a:gd name="T42" fmla="*/ 254 w 279"/>
                <a:gd name="T43" fmla="*/ 115 h 204"/>
                <a:gd name="T44" fmla="*/ 264 w 279"/>
                <a:gd name="T45" fmla="*/ 110 h 204"/>
                <a:gd name="T46" fmla="*/ 279 w 279"/>
                <a:gd name="T47" fmla="*/ 99 h 204"/>
                <a:gd name="T48" fmla="*/ 252 w 279"/>
                <a:gd name="T49" fmla="*/ 75 h 204"/>
                <a:gd name="T50" fmla="*/ 227 w 279"/>
                <a:gd name="T51" fmla="*/ 58 h 204"/>
                <a:gd name="T52" fmla="*/ 204 w 279"/>
                <a:gd name="T53" fmla="*/ 44 h 204"/>
                <a:gd name="T54" fmla="*/ 185 w 279"/>
                <a:gd name="T55" fmla="*/ 31 h 204"/>
                <a:gd name="T56" fmla="*/ 146 w 279"/>
                <a:gd name="T57" fmla="*/ 68 h 204"/>
                <a:gd name="T58" fmla="*/ 79 w 279"/>
                <a:gd name="T59" fmla="*/ 25 h 204"/>
                <a:gd name="T60" fmla="*/ 52 w 279"/>
                <a:gd name="T61" fmla="*/ 12 h 204"/>
                <a:gd name="T62" fmla="*/ 46 w 279"/>
                <a:gd name="T63" fmla="*/ 62 h 204"/>
                <a:gd name="T64" fmla="*/ 0 w 279"/>
                <a:gd name="T65" fmla="*/ 56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4" name="Freeform 443">
              <a:extLst>
                <a:ext uri="{FF2B5EF4-FFF2-40B4-BE49-F238E27FC236}">
                  <a16:creationId xmlns="" xmlns:a16="http://schemas.microsoft.com/office/drawing/2014/main" id="{CA9B0059-C1C1-E249-9F90-241773C99BE5}"/>
                </a:ext>
              </a:extLst>
            </p:cNvPr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506913" y="1897063"/>
              <a:ext cx="209550" cy="150812"/>
            </a:xfrm>
            <a:custGeom>
              <a:avLst/>
              <a:gdLst>
                <a:gd name="T0" fmla="*/ 252 w 485"/>
                <a:gd name="T1" fmla="*/ 20 h 291"/>
                <a:gd name="T2" fmla="*/ 300 w 485"/>
                <a:gd name="T3" fmla="*/ 44 h 291"/>
                <a:gd name="T4" fmla="*/ 372 w 485"/>
                <a:gd name="T5" fmla="*/ 44 h 291"/>
                <a:gd name="T6" fmla="*/ 425 w 485"/>
                <a:gd name="T7" fmla="*/ 131 h 291"/>
                <a:gd name="T8" fmla="*/ 485 w 485"/>
                <a:gd name="T9" fmla="*/ 167 h 291"/>
                <a:gd name="T10" fmla="*/ 412 w 485"/>
                <a:gd name="T11" fmla="*/ 173 h 291"/>
                <a:gd name="T12" fmla="*/ 433 w 485"/>
                <a:gd name="T13" fmla="*/ 210 h 291"/>
                <a:gd name="T14" fmla="*/ 392 w 485"/>
                <a:gd name="T15" fmla="*/ 241 h 291"/>
                <a:gd name="T16" fmla="*/ 385 w 485"/>
                <a:gd name="T17" fmla="*/ 291 h 291"/>
                <a:gd name="T18" fmla="*/ 285 w 485"/>
                <a:gd name="T19" fmla="*/ 266 h 291"/>
                <a:gd name="T20" fmla="*/ 173 w 485"/>
                <a:gd name="T21" fmla="*/ 254 h 291"/>
                <a:gd name="T22" fmla="*/ 60 w 485"/>
                <a:gd name="T23" fmla="*/ 266 h 291"/>
                <a:gd name="T24" fmla="*/ 15 w 485"/>
                <a:gd name="T25" fmla="*/ 271 h 291"/>
                <a:gd name="T26" fmla="*/ 8 w 485"/>
                <a:gd name="T27" fmla="*/ 257 h 291"/>
                <a:gd name="T28" fmla="*/ 3 w 485"/>
                <a:gd name="T29" fmla="*/ 244 h 291"/>
                <a:gd name="T30" fmla="*/ 0 w 485"/>
                <a:gd name="T31" fmla="*/ 229 h 291"/>
                <a:gd name="T32" fmla="*/ 5 w 485"/>
                <a:gd name="T33" fmla="*/ 219 h 291"/>
                <a:gd name="T34" fmla="*/ 14 w 485"/>
                <a:gd name="T35" fmla="*/ 207 h 291"/>
                <a:gd name="T36" fmla="*/ 23 w 485"/>
                <a:gd name="T37" fmla="*/ 189 h 291"/>
                <a:gd name="T38" fmla="*/ 31 w 485"/>
                <a:gd name="T39" fmla="*/ 166 h 291"/>
                <a:gd name="T40" fmla="*/ 41 w 485"/>
                <a:gd name="T41" fmla="*/ 137 h 291"/>
                <a:gd name="T42" fmla="*/ 48 w 485"/>
                <a:gd name="T43" fmla="*/ 126 h 291"/>
                <a:gd name="T44" fmla="*/ 60 w 485"/>
                <a:gd name="T45" fmla="*/ 119 h 291"/>
                <a:gd name="T46" fmla="*/ 87 w 485"/>
                <a:gd name="T47" fmla="*/ 111 h 291"/>
                <a:gd name="T48" fmla="*/ 89 w 485"/>
                <a:gd name="T49" fmla="*/ 106 h 291"/>
                <a:gd name="T50" fmla="*/ 94 w 485"/>
                <a:gd name="T51" fmla="*/ 100 h 291"/>
                <a:gd name="T52" fmla="*/ 101 w 485"/>
                <a:gd name="T53" fmla="*/ 95 h 291"/>
                <a:gd name="T54" fmla="*/ 106 w 485"/>
                <a:gd name="T55" fmla="*/ 93 h 291"/>
                <a:gd name="T56" fmla="*/ 106 w 485"/>
                <a:gd name="T57" fmla="*/ 76 h 291"/>
                <a:gd name="T58" fmla="*/ 109 w 485"/>
                <a:gd name="T59" fmla="*/ 70 h 291"/>
                <a:gd name="T60" fmla="*/ 113 w 485"/>
                <a:gd name="T61" fmla="*/ 67 h 291"/>
                <a:gd name="T62" fmla="*/ 122 w 485"/>
                <a:gd name="T63" fmla="*/ 69 h 291"/>
                <a:gd name="T64" fmla="*/ 128 w 485"/>
                <a:gd name="T65" fmla="*/ 69 h 291"/>
                <a:gd name="T66" fmla="*/ 132 w 485"/>
                <a:gd name="T67" fmla="*/ 66 h 291"/>
                <a:gd name="T68" fmla="*/ 134 w 485"/>
                <a:gd name="T69" fmla="*/ 56 h 291"/>
                <a:gd name="T70" fmla="*/ 139 w 485"/>
                <a:gd name="T71" fmla="*/ 44 h 291"/>
                <a:gd name="T72" fmla="*/ 144 w 485"/>
                <a:gd name="T73" fmla="*/ 39 h 291"/>
                <a:gd name="T74" fmla="*/ 213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5" name="Freeform 444">
              <a:extLst>
                <a:ext uri="{FF2B5EF4-FFF2-40B4-BE49-F238E27FC236}">
                  <a16:creationId xmlns="" xmlns:a16="http://schemas.microsoft.com/office/drawing/2014/main" id="{D222FEE4-5B86-5E4A-82BE-342CFDA76F93}"/>
                </a:ext>
              </a:extLst>
            </p:cNvPr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364038" y="2228850"/>
              <a:ext cx="82550" cy="87313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6" name="Freeform 445">
              <a:extLst>
                <a:ext uri="{FF2B5EF4-FFF2-40B4-BE49-F238E27FC236}">
                  <a16:creationId xmlns="" xmlns:a16="http://schemas.microsoft.com/office/drawing/2014/main" id="{07C7D6AE-CBB9-D242-89A1-1CFE9D679AAE}"/>
                </a:ext>
              </a:extLst>
            </p:cNvPr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728913" y="3665538"/>
              <a:ext cx="82550" cy="57150"/>
            </a:xfrm>
            <a:custGeom>
              <a:avLst/>
              <a:gdLst>
                <a:gd name="T0" fmla="*/ 153 w 186"/>
                <a:gd name="T1" fmla="*/ 21 h 104"/>
                <a:gd name="T2" fmla="*/ 146 w 186"/>
                <a:gd name="T3" fmla="*/ 21 h 104"/>
                <a:gd name="T4" fmla="*/ 141 w 186"/>
                <a:gd name="T5" fmla="*/ 20 h 104"/>
                <a:gd name="T6" fmla="*/ 136 w 186"/>
                <a:gd name="T7" fmla="*/ 18 h 104"/>
                <a:gd name="T8" fmla="*/ 133 w 186"/>
                <a:gd name="T9" fmla="*/ 15 h 104"/>
                <a:gd name="T10" fmla="*/ 130 w 186"/>
                <a:gd name="T11" fmla="*/ 13 h 104"/>
                <a:gd name="T12" fmla="*/ 125 w 186"/>
                <a:gd name="T13" fmla="*/ 11 h 104"/>
                <a:gd name="T14" fmla="*/ 120 w 186"/>
                <a:gd name="T15" fmla="*/ 10 h 104"/>
                <a:gd name="T16" fmla="*/ 113 w 186"/>
                <a:gd name="T17" fmla="*/ 9 h 104"/>
                <a:gd name="T18" fmla="*/ 100 w 186"/>
                <a:gd name="T19" fmla="*/ 8 h 104"/>
                <a:gd name="T20" fmla="*/ 88 w 186"/>
                <a:gd name="T21" fmla="*/ 6 h 104"/>
                <a:gd name="T22" fmla="*/ 75 w 186"/>
                <a:gd name="T23" fmla="*/ 3 h 104"/>
                <a:gd name="T24" fmla="*/ 64 w 186"/>
                <a:gd name="T25" fmla="*/ 1 h 104"/>
                <a:gd name="T26" fmla="*/ 60 w 186"/>
                <a:gd name="T27" fmla="*/ 0 h 104"/>
                <a:gd name="T28" fmla="*/ 54 w 186"/>
                <a:gd name="T29" fmla="*/ 0 h 104"/>
                <a:gd name="T30" fmla="*/ 51 w 186"/>
                <a:gd name="T31" fmla="*/ 1 h 104"/>
                <a:gd name="T32" fmla="*/ 46 w 186"/>
                <a:gd name="T33" fmla="*/ 2 h 104"/>
                <a:gd name="T34" fmla="*/ 44 w 186"/>
                <a:gd name="T35" fmla="*/ 4 h 104"/>
                <a:gd name="T36" fmla="*/ 42 w 186"/>
                <a:gd name="T37" fmla="*/ 6 h 104"/>
                <a:gd name="T38" fmla="*/ 41 w 186"/>
                <a:gd name="T39" fmla="*/ 10 h 104"/>
                <a:gd name="T40" fmla="*/ 40 w 186"/>
                <a:gd name="T41" fmla="*/ 15 h 104"/>
                <a:gd name="T42" fmla="*/ 34 w 186"/>
                <a:gd name="T43" fmla="*/ 27 h 104"/>
                <a:gd name="T44" fmla="*/ 20 w 186"/>
                <a:gd name="T45" fmla="*/ 47 h 104"/>
                <a:gd name="T46" fmla="*/ 7 w 186"/>
                <a:gd name="T47" fmla="*/ 66 h 104"/>
                <a:gd name="T48" fmla="*/ 0 w 186"/>
                <a:gd name="T49" fmla="*/ 77 h 104"/>
                <a:gd name="T50" fmla="*/ 8 w 186"/>
                <a:gd name="T51" fmla="*/ 77 h 104"/>
                <a:gd name="T52" fmla="*/ 16 w 186"/>
                <a:gd name="T53" fmla="*/ 78 h 104"/>
                <a:gd name="T54" fmla="*/ 21 w 186"/>
                <a:gd name="T55" fmla="*/ 79 h 104"/>
                <a:gd name="T56" fmla="*/ 25 w 186"/>
                <a:gd name="T57" fmla="*/ 81 h 104"/>
                <a:gd name="T58" fmla="*/ 33 w 186"/>
                <a:gd name="T59" fmla="*/ 85 h 104"/>
                <a:gd name="T60" fmla="*/ 40 w 186"/>
                <a:gd name="T61" fmla="*/ 89 h 104"/>
                <a:gd name="T62" fmla="*/ 45 w 186"/>
                <a:gd name="T63" fmla="*/ 94 h 104"/>
                <a:gd name="T64" fmla="*/ 52 w 186"/>
                <a:gd name="T65" fmla="*/ 98 h 104"/>
                <a:gd name="T66" fmla="*/ 56 w 186"/>
                <a:gd name="T67" fmla="*/ 100 h 104"/>
                <a:gd name="T68" fmla="*/ 61 w 186"/>
                <a:gd name="T69" fmla="*/ 101 h 104"/>
                <a:gd name="T70" fmla="*/ 66 w 186"/>
                <a:gd name="T71" fmla="*/ 102 h 104"/>
                <a:gd name="T72" fmla="*/ 74 w 186"/>
                <a:gd name="T73" fmla="*/ 102 h 104"/>
                <a:gd name="T74" fmla="*/ 107 w 186"/>
                <a:gd name="T75" fmla="*/ 103 h 104"/>
                <a:gd name="T76" fmla="*/ 131 w 186"/>
                <a:gd name="T77" fmla="*/ 104 h 104"/>
                <a:gd name="T78" fmla="*/ 135 w 186"/>
                <a:gd name="T79" fmla="*/ 103 h 104"/>
                <a:gd name="T80" fmla="*/ 139 w 186"/>
                <a:gd name="T81" fmla="*/ 102 h 104"/>
                <a:gd name="T82" fmla="*/ 142 w 186"/>
                <a:gd name="T83" fmla="*/ 100 h 104"/>
                <a:gd name="T84" fmla="*/ 145 w 186"/>
                <a:gd name="T85" fmla="*/ 97 h 104"/>
                <a:gd name="T86" fmla="*/ 147 w 186"/>
                <a:gd name="T87" fmla="*/ 94 h 104"/>
                <a:gd name="T88" fmla="*/ 150 w 186"/>
                <a:gd name="T89" fmla="*/ 88 h 104"/>
                <a:gd name="T90" fmla="*/ 152 w 186"/>
                <a:gd name="T91" fmla="*/ 83 h 104"/>
                <a:gd name="T92" fmla="*/ 153 w 186"/>
                <a:gd name="T93" fmla="*/ 77 h 104"/>
                <a:gd name="T94" fmla="*/ 186 w 186"/>
                <a:gd name="T95" fmla="*/ 27 h 104"/>
                <a:gd name="T96" fmla="*/ 153 w 186"/>
                <a:gd name="T97" fmla="*/ 21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7" name="Freeform 446">
              <a:extLst>
                <a:ext uri="{FF2B5EF4-FFF2-40B4-BE49-F238E27FC236}">
                  <a16:creationId xmlns="" xmlns:a16="http://schemas.microsoft.com/office/drawing/2014/main" id="{523622F3-89B0-D746-BC1B-F012B2487961}"/>
                </a:ext>
              </a:extLst>
            </p:cNvPr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4522788" y="2263775"/>
              <a:ext cx="133350" cy="96838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8" name="Freeform 447">
              <a:extLst>
                <a:ext uri="{FF2B5EF4-FFF2-40B4-BE49-F238E27FC236}">
                  <a16:creationId xmlns="" xmlns:a16="http://schemas.microsoft.com/office/drawing/2014/main" id="{E8E44EB3-8470-2349-93D9-2CD4E264EF6C}"/>
                </a:ext>
              </a:extLst>
            </p:cNvPr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3878263" y="3190875"/>
              <a:ext cx="177800" cy="165100"/>
            </a:xfrm>
            <a:custGeom>
              <a:avLst/>
              <a:gdLst>
                <a:gd name="T0" fmla="*/ 6 w 405"/>
                <a:gd name="T1" fmla="*/ 260 h 314"/>
                <a:gd name="T2" fmla="*/ 13 w 405"/>
                <a:gd name="T3" fmla="*/ 237 h 314"/>
                <a:gd name="T4" fmla="*/ 17 w 405"/>
                <a:gd name="T5" fmla="*/ 202 h 314"/>
                <a:gd name="T6" fmla="*/ 23 w 405"/>
                <a:gd name="T7" fmla="*/ 173 h 314"/>
                <a:gd name="T8" fmla="*/ 32 w 405"/>
                <a:gd name="T9" fmla="*/ 162 h 314"/>
                <a:gd name="T10" fmla="*/ 48 w 405"/>
                <a:gd name="T11" fmla="*/ 150 h 314"/>
                <a:gd name="T12" fmla="*/ 72 w 405"/>
                <a:gd name="T13" fmla="*/ 141 h 314"/>
                <a:gd name="T14" fmla="*/ 93 w 405"/>
                <a:gd name="T15" fmla="*/ 134 h 314"/>
                <a:gd name="T16" fmla="*/ 104 w 405"/>
                <a:gd name="T17" fmla="*/ 125 h 314"/>
                <a:gd name="T18" fmla="*/ 113 w 405"/>
                <a:gd name="T19" fmla="*/ 114 h 314"/>
                <a:gd name="T20" fmla="*/ 123 w 405"/>
                <a:gd name="T21" fmla="*/ 93 h 314"/>
                <a:gd name="T22" fmla="*/ 136 w 405"/>
                <a:gd name="T23" fmla="*/ 69 h 314"/>
                <a:gd name="T24" fmla="*/ 147 w 405"/>
                <a:gd name="T25" fmla="*/ 55 h 314"/>
                <a:gd name="T26" fmla="*/ 155 w 405"/>
                <a:gd name="T27" fmla="*/ 51 h 314"/>
                <a:gd name="T28" fmla="*/ 170 w 405"/>
                <a:gd name="T29" fmla="*/ 51 h 314"/>
                <a:gd name="T30" fmla="*/ 189 w 405"/>
                <a:gd name="T31" fmla="*/ 48 h 314"/>
                <a:gd name="T32" fmla="*/ 213 w 405"/>
                <a:gd name="T33" fmla="*/ 35 h 314"/>
                <a:gd name="T34" fmla="*/ 237 w 405"/>
                <a:gd name="T35" fmla="*/ 20 h 314"/>
                <a:gd name="T36" fmla="*/ 257 w 405"/>
                <a:gd name="T37" fmla="*/ 11 h 314"/>
                <a:gd name="T38" fmla="*/ 282 w 405"/>
                <a:gd name="T39" fmla="*/ 4 h 314"/>
                <a:gd name="T40" fmla="*/ 314 w 405"/>
                <a:gd name="T41" fmla="*/ 0 h 314"/>
                <a:gd name="T42" fmla="*/ 332 w 405"/>
                <a:gd name="T43" fmla="*/ 14 h 314"/>
                <a:gd name="T44" fmla="*/ 337 w 405"/>
                <a:gd name="T45" fmla="*/ 34 h 314"/>
                <a:gd name="T46" fmla="*/ 343 w 405"/>
                <a:gd name="T47" fmla="*/ 50 h 314"/>
                <a:gd name="T48" fmla="*/ 352 w 405"/>
                <a:gd name="T49" fmla="*/ 62 h 314"/>
                <a:gd name="T50" fmla="*/ 368 w 405"/>
                <a:gd name="T51" fmla="*/ 74 h 314"/>
                <a:gd name="T52" fmla="*/ 382 w 405"/>
                <a:gd name="T53" fmla="*/ 85 h 314"/>
                <a:gd name="T54" fmla="*/ 390 w 405"/>
                <a:gd name="T55" fmla="*/ 93 h 314"/>
                <a:gd name="T56" fmla="*/ 396 w 405"/>
                <a:gd name="T57" fmla="*/ 115 h 314"/>
                <a:gd name="T58" fmla="*/ 398 w 405"/>
                <a:gd name="T59" fmla="*/ 143 h 314"/>
                <a:gd name="T60" fmla="*/ 398 w 405"/>
                <a:gd name="T61" fmla="*/ 170 h 314"/>
                <a:gd name="T62" fmla="*/ 402 w 405"/>
                <a:gd name="T63" fmla="*/ 196 h 314"/>
                <a:gd name="T64" fmla="*/ 398 w 405"/>
                <a:gd name="T65" fmla="*/ 217 h 314"/>
                <a:gd name="T66" fmla="*/ 382 w 405"/>
                <a:gd name="T67" fmla="*/ 226 h 314"/>
                <a:gd name="T68" fmla="*/ 365 w 405"/>
                <a:gd name="T69" fmla="*/ 241 h 314"/>
                <a:gd name="T70" fmla="*/ 363 w 405"/>
                <a:gd name="T71" fmla="*/ 237 h 314"/>
                <a:gd name="T72" fmla="*/ 358 w 405"/>
                <a:gd name="T73" fmla="*/ 233 h 314"/>
                <a:gd name="T74" fmla="*/ 342 w 405"/>
                <a:gd name="T75" fmla="*/ 227 h 314"/>
                <a:gd name="T76" fmla="*/ 319 w 405"/>
                <a:gd name="T77" fmla="*/ 223 h 314"/>
                <a:gd name="T78" fmla="*/ 152 w 405"/>
                <a:gd name="T79" fmla="*/ 241 h 314"/>
                <a:gd name="T80" fmla="*/ 150 w 405"/>
                <a:gd name="T81" fmla="*/ 257 h 314"/>
                <a:gd name="T82" fmla="*/ 150 w 405"/>
                <a:gd name="T83" fmla="*/ 274 h 314"/>
                <a:gd name="T84" fmla="*/ 152 w 405"/>
                <a:gd name="T85" fmla="*/ 314 h 314"/>
                <a:gd name="T86" fmla="*/ 139 w 405"/>
                <a:gd name="T87" fmla="*/ 312 h 314"/>
                <a:gd name="T88" fmla="*/ 126 w 405"/>
                <a:gd name="T89" fmla="*/ 305 h 314"/>
                <a:gd name="T90" fmla="*/ 100 w 405"/>
                <a:gd name="T91" fmla="*/ 290 h 314"/>
                <a:gd name="T92" fmla="*/ 89 w 405"/>
                <a:gd name="T93" fmla="*/ 307 h 314"/>
                <a:gd name="T94" fmla="*/ 82 w 405"/>
                <a:gd name="T95" fmla="*/ 312 h 314"/>
                <a:gd name="T96" fmla="*/ 73 w 405"/>
                <a:gd name="T97" fmla="*/ 314 h 314"/>
                <a:gd name="T98" fmla="*/ 60 w 405"/>
                <a:gd name="T99" fmla="*/ 311 h 314"/>
                <a:gd name="T100" fmla="*/ 47 w 405"/>
                <a:gd name="T101" fmla="*/ 302 h 314"/>
                <a:gd name="T102" fmla="*/ 28 w 405"/>
                <a:gd name="T103" fmla="*/ 291 h 314"/>
                <a:gd name="T104" fmla="*/ 0 w 405"/>
                <a:gd name="T105" fmla="*/ 284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69" name="Freeform 448">
              <a:extLst>
                <a:ext uri="{FF2B5EF4-FFF2-40B4-BE49-F238E27FC236}">
                  <a16:creationId xmlns="" xmlns:a16="http://schemas.microsoft.com/office/drawing/2014/main" id="{02229D67-9D16-A847-89B0-BACB75C3357F}"/>
                </a:ext>
              </a:extLst>
            </p:cNvPr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4225925" y="3259138"/>
              <a:ext cx="193675" cy="349250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0" name="Freeform 449">
              <a:extLst>
                <a:ext uri="{FF2B5EF4-FFF2-40B4-BE49-F238E27FC236}">
                  <a16:creationId xmlns="" xmlns:a16="http://schemas.microsoft.com/office/drawing/2014/main" id="{168FEE3D-6A4F-E144-A8F0-5B97AB4248D7}"/>
                </a:ext>
              </a:extLst>
            </p:cNvPr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77025" y="3017838"/>
              <a:ext cx="55563" cy="57150"/>
            </a:xfrm>
            <a:custGeom>
              <a:avLst/>
              <a:gdLst>
                <a:gd name="T0" fmla="*/ 0 w 126"/>
                <a:gd name="T1" fmla="*/ 56 h 105"/>
                <a:gd name="T2" fmla="*/ 4 w 126"/>
                <a:gd name="T3" fmla="*/ 49 h 105"/>
                <a:gd name="T4" fmla="*/ 10 w 126"/>
                <a:gd name="T5" fmla="*/ 41 h 105"/>
                <a:gd name="T6" fmla="*/ 16 w 126"/>
                <a:gd name="T7" fmla="*/ 33 h 105"/>
                <a:gd name="T8" fmla="*/ 24 w 126"/>
                <a:gd name="T9" fmla="*/ 25 h 105"/>
                <a:gd name="T10" fmla="*/ 37 w 126"/>
                <a:gd name="T11" fmla="*/ 11 h 105"/>
                <a:gd name="T12" fmla="*/ 47 w 126"/>
                <a:gd name="T13" fmla="*/ 0 h 105"/>
                <a:gd name="T14" fmla="*/ 113 w 126"/>
                <a:gd name="T15" fmla="*/ 0 h 105"/>
                <a:gd name="T16" fmla="*/ 114 w 126"/>
                <a:gd name="T17" fmla="*/ 4 h 105"/>
                <a:gd name="T18" fmla="*/ 115 w 126"/>
                <a:gd name="T19" fmla="*/ 8 h 105"/>
                <a:gd name="T20" fmla="*/ 117 w 126"/>
                <a:gd name="T21" fmla="*/ 12 h 105"/>
                <a:gd name="T22" fmla="*/ 119 w 126"/>
                <a:gd name="T23" fmla="*/ 14 h 105"/>
                <a:gd name="T24" fmla="*/ 124 w 126"/>
                <a:gd name="T25" fmla="*/ 20 h 105"/>
                <a:gd name="T26" fmla="*/ 126 w 126"/>
                <a:gd name="T27" fmla="*/ 24 h 105"/>
                <a:gd name="T28" fmla="*/ 126 w 126"/>
                <a:gd name="T29" fmla="*/ 32 h 105"/>
                <a:gd name="T30" fmla="*/ 125 w 126"/>
                <a:gd name="T31" fmla="*/ 41 h 105"/>
                <a:gd name="T32" fmla="*/ 124 w 126"/>
                <a:gd name="T33" fmla="*/ 48 h 105"/>
                <a:gd name="T34" fmla="*/ 122 w 126"/>
                <a:gd name="T35" fmla="*/ 55 h 105"/>
                <a:gd name="T36" fmla="*/ 119 w 126"/>
                <a:gd name="T37" fmla="*/ 62 h 105"/>
                <a:gd name="T38" fmla="*/ 116 w 126"/>
                <a:gd name="T39" fmla="*/ 69 h 105"/>
                <a:gd name="T40" fmla="*/ 112 w 126"/>
                <a:gd name="T41" fmla="*/ 75 h 105"/>
                <a:gd name="T42" fmla="*/ 108 w 126"/>
                <a:gd name="T43" fmla="*/ 81 h 105"/>
                <a:gd name="T44" fmla="*/ 104 w 126"/>
                <a:gd name="T45" fmla="*/ 86 h 105"/>
                <a:gd name="T46" fmla="*/ 99 w 126"/>
                <a:gd name="T47" fmla="*/ 90 h 105"/>
                <a:gd name="T48" fmla="*/ 93 w 126"/>
                <a:gd name="T49" fmla="*/ 94 h 105"/>
                <a:gd name="T50" fmla="*/ 88 w 126"/>
                <a:gd name="T51" fmla="*/ 99 h 105"/>
                <a:gd name="T52" fmla="*/ 81 w 126"/>
                <a:gd name="T53" fmla="*/ 101 h 105"/>
                <a:gd name="T54" fmla="*/ 74 w 126"/>
                <a:gd name="T55" fmla="*/ 103 h 105"/>
                <a:gd name="T56" fmla="*/ 67 w 126"/>
                <a:gd name="T57" fmla="*/ 105 h 105"/>
                <a:gd name="T58" fmla="*/ 60 w 126"/>
                <a:gd name="T59" fmla="*/ 105 h 105"/>
                <a:gd name="T60" fmla="*/ 48 w 126"/>
                <a:gd name="T61" fmla="*/ 104 h 105"/>
                <a:gd name="T62" fmla="*/ 38 w 126"/>
                <a:gd name="T63" fmla="*/ 102 h 105"/>
                <a:gd name="T64" fmla="*/ 31 w 126"/>
                <a:gd name="T65" fmla="*/ 98 h 105"/>
                <a:gd name="T66" fmla="*/ 24 w 126"/>
                <a:gd name="T67" fmla="*/ 92 h 105"/>
                <a:gd name="T68" fmla="*/ 20 w 126"/>
                <a:gd name="T69" fmla="*/ 86 h 105"/>
                <a:gd name="T70" fmla="*/ 16 w 126"/>
                <a:gd name="T71" fmla="*/ 78 h 105"/>
                <a:gd name="T72" fmla="*/ 14 w 126"/>
                <a:gd name="T73" fmla="*/ 70 h 105"/>
                <a:gd name="T74" fmla="*/ 13 w 126"/>
                <a:gd name="T75" fmla="*/ 62 h 105"/>
                <a:gd name="T76" fmla="*/ 0 w 126"/>
                <a:gd name="T77" fmla="*/ 56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1" name="Freeform 450">
              <a:extLst>
                <a:ext uri="{FF2B5EF4-FFF2-40B4-BE49-F238E27FC236}">
                  <a16:creationId xmlns="" xmlns:a16="http://schemas.microsoft.com/office/drawing/2014/main" id="{B36929DD-C1B9-CD43-A1DD-26F9470FB47C}"/>
                </a:ext>
              </a:extLst>
            </p:cNvPr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032000" y="3281363"/>
              <a:ext cx="298450" cy="523875"/>
            </a:xfrm>
            <a:custGeom>
              <a:avLst/>
              <a:gdLst>
                <a:gd name="T0" fmla="*/ 671 w 684"/>
                <a:gd name="T1" fmla="*/ 573 h 998"/>
                <a:gd name="T2" fmla="*/ 680 w 684"/>
                <a:gd name="T3" fmla="*/ 550 h 998"/>
                <a:gd name="T4" fmla="*/ 671 w 684"/>
                <a:gd name="T5" fmla="*/ 491 h 998"/>
                <a:gd name="T6" fmla="*/ 659 w 684"/>
                <a:gd name="T7" fmla="*/ 423 h 998"/>
                <a:gd name="T8" fmla="*/ 678 w 684"/>
                <a:gd name="T9" fmla="*/ 389 h 998"/>
                <a:gd name="T10" fmla="*/ 557 w 684"/>
                <a:gd name="T11" fmla="*/ 361 h 998"/>
                <a:gd name="T12" fmla="*/ 533 w 684"/>
                <a:gd name="T13" fmla="*/ 326 h 998"/>
                <a:gd name="T14" fmla="*/ 462 w 684"/>
                <a:gd name="T15" fmla="*/ 310 h 998"/>
                <a:gd name="T16" fmla="*/ 402 w 684"/>
                <a:gd name="T17" fmla="*/ 270 h 998"/>
                <a:gd name="T18" fmla="*/ 375 w 684"/>
                <a:gd name="T19" fmla="*/ 201 h 998"/>
                <a:gd name="T20" fmla="*/ 375 w 684"/>
                <a:gd name="T21" fmla="*/ 133 h 998"/>
                <a:gd name="T22" fmla="*/ 395 w 684"/>
                <a:gd name="T23" fmla="*/ 84 h 998"/>
                <a:gd name="T24" fmla="*/ 435 w 684"/>
                <a:gd name="T25" fmla="*/ 48 h 998"/>
                <a:gd name="T26" fmla="*/ 463 w 684"/>
                <a:gd name="T27" fmla="*/ 11 h 998"/>
                <a:gd name="T28" fmla="*/ 389 w 684"/>
                <a:gd name="T29" fmla="*/ 39 h 998"/>
                <a:gd name="T30" fmla="*/ 335 w 684"/>
                <a:gd name="T31" fmla="*/ 68 h 998"/>
                <a:gd name="T32" fmla="*/ 304 w 684"/>
                <a:gd name="T33" fmla="*/ 78 h 998"/>
                <a:gd name="T34" fmla="*/ 278 w 684"/>
                <a:gd name="T35" fmla="*/ 84 h 998"/>
                <a:gd name="T36" fmla="*/ 241 w 684"/>
                <a:gd name="T37" fmla="*/ 81 h 998"/>
                <a:gd name="T38" fmla="*/ 217 w 684"/>
                <a:gd name="T39" fmla="*/ 108 h 998"/>
                <a:gd name="T40" fmla="*/ 196 w 684"/>
                <a:gd name="T41" fmla="*/ 175 h 998"/>
                <a:gd name="T42" fmla="*/ 157 w 684"/>
                <a:gd name="T43" fmla="*/ 227 h 998"/>
                <a:gd name="T44" fmla="*/ 107 w 684"/>
                <a:gd name="T45" fmla="*/ 284 h 998"/>
                <a:gd name="T46" fmla="*/ 90 w 684"/>
                <a:gd name="T47" fmla="*/ 317 h 998"/>
                <a:gd name="T48" fmla="*/ 86 w 684"/>
                <a:gd name="T49" fmla="*/ 356 h 998"/>
                <a:gd name="T50" fmla="*/ 97 w 684"/>
                <a:gd name="T51" fmla="*/ 382 h 998"/>
                <a:gd name="T52" fmla="*/ 97 w 684"/>
                <a:gd name="T53" fmla="*/ 451 h 998"/>
                <a:gd name="T54" fmla="*/ 95 w 684"/>
                <a:gd name="T55" fmla="*/ 525 h 998"/>
                <a:gd name="T56" fmla="*/ 72 w 684"/>
                <a:gd name="T57" fmla="*/ 563 h 998"/>
                <a:gd name="T58" fmla="*/ 37 w 684"/>
                <a:gd name="T59" fmla="*/ 592 h 998"/>
                <a:gd name="T60" fmla="*/ 11 w 684"/>
                <a:gd name="T61" fmla="*/ 612 h 998"/>
                <a:gd name="T62" fmla="*/ 30 w 684"/>
                <a:gd name="T63" fmla="*/ 668 h 998"/>
                <a:gd name="T64" fmla="*/ 123 w 684"/>
                <a:gd name="T65" fmla="*/ 725 h 998"/>
                <a:gd name="T66" fmla="*/ 175 w 684"/>
                <a:gd name="T67" fmla="*/ 728 h 998"/>
                <a:gd name="T68" fmla="*/ 234 w 684"/>
                <a:gd name="T69" fmla="*/ 746 h 998"/>
                <a:gd name="T70" fmla="*/ 299 w 684"/>
                <a:gd name="T71" fmla="*/ 795 h 998"/>
                <a:gd name="T72" fmla="*/ 337 w 684"/>
                <a:gd name="T73" fmla="*/ 850 h 998"/>
                <a:gd name="T74" fmla="*/ 367 w 684"/>
                <a:gd name="T75" fmla="*/ 881 h 998"/>
                <a:gd name="T76" fmla="*/ 412 w 684"/>
                <a:gd name="T77" fmla="*/ 886 h 998"/>
                <a:gd name="T78" fmla="*/ 462 w 684"/>
                <a:gd name="T79" fmla="*/ 876 h 998"/>
                <a:gd name="T80" fmla="*/ 492 w 684"/>
                <a:gd name="T81" fmla="*/ 878 h 998"/>
                <a:gd name="T82" fmla="*/ 515 w 684"/>
                <a:gd name="T83" fmla="*/ 904 h 998"/>
                <a:gd name="T84" fmla="*/ 513 w 684"/>
                <a:gd name="T85" fmla="*/ 922 h 998"/>
                <a:gd name="T86" fmla="*/ 488 w 684"/>
                <a:gd name="T87" fmla="*/ 937 h 998"/>
                <a:gd name="T88" fmla="*/ 488 w 684"/>
                <a:gd name="T89" fmla="*/ 963 h 998"/>
                <a:gd name="T90" fmla="*/ 511 w 684"/>
                <a:gd name="T91" fmla="*/ 994 h 998"/>
                <a:gd name="T92" fmla="*/ 542 w 684"/>
                <a:gd name="T93" fmla="*/ 962 h 998"/>
                <a:gd name="T94" fmla="*/ 566 w 684"/>
                <a:gd name="T95" fmla="*/ 861 h 998"/>
                <a:gd name="T96" fmla="*/ 571 w 684"/>
                <a:gd name="T97" fmla="*/ 803 h 998"/>
                <a:gd name="T98" fmla="*/ 555 w 684"/>
                <a:gd name="T99" fmla="*/ 771 h 998"/>
                <a:gd name="T100" fmla="*/ 523 w 684"/>
                <a:gd name="T101" fmla="*/ 749 h 998"/>
                <a:gd name="T102" fmla="*/ 521 w 684"/>
                <a:gd name="T103" fmla="*/ 723 h 998"/>
                <a:gd name="T104" fmla="*/ 566 w 684"/>
                <a:gd name="T105" fmla="*/ 700 h 998"/>
                <a:gd name="T106" fmla="*/ 556 w 684"/>
                <a:gd name="T107" fmla="*/ 665 h 998"/>
                <a:gd name="T108" fmla="*/ 556 w 684"/>
                <a:gd name="T109" fmla="*/ 649 h 998"/>
                <a:gd name="T110" fmla="*/ 655 w 684"/>
                <a:gd name="T111" fmla="*/ 628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2" name="Freeform 451">
              <a:extLst>
                <a:ext uri="{FF2B5EF4-FFF2-40B4-BE49-F238E27FC236}">
                  <a16:creationId xmlns="" xmlns:a16="http://schemas.microsoft.com/office/drawing/2014/main" id="{19122BE7-7DF2-9749-88F3-CA42BA7AC93F}"/>
                </a:ext>
              </a:extLst>
            </p:cNvPr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4284663" y="3549650"/>
              <a:ext cx="187325" cy="274638"/>
            </a:xfrm>
            <a:custGeom>
              <a:avLst/>
              <a:gdLst>
                <a:gd name="T0" fmla="*/ 429 w 429"/>
                <a:gd name="T1" fmla="*/ 22 h 524"/>
                <a:gd name="T2" fmla="*/ 428 w 429"/>
                <a:gd name="T3" fmla="*/ 43 h 524"/>
                <a:gd name="T4" fmla="*/ 424 w 429"/>
                <a:gd name="T5" fmla="*/ 54 h 524"/>
                <a:gd name="T6" fmla="*/ 415 w 429"/>
                <a:gd name="T7" fmla="*/ 67 h 524"/>
                <a:gd name="T8" fmla="*/ 413 w 429"/>
                <a:gd name="T9" fmla="*/ 81 h 524"/>
                <a:gd name="T10" fmla="*/ 414 w 429"/>
                <a:gd name="T11" fmla="*/ 160 h 524"/>
                <a:gd name="T12" fmla="*/ 408 w 429"/>
                <a:gd name="T13" fmla="*/ 207 h 524"/>
                <a:gd name="T14" fmla="*/ 396 w 429"/>
                <a:gd name="T15" fmla="*/ 241 h 524"/>
                <a:gd name="T16" fmla="*/ 372 w 429"/>
                <a:gd name="T17" fmla="*/ 278 h 524"/>
                <a:gd name="T18" fmla="*/ 338 w 429"/>
                <a:gd name="T19" fmla="*/ 309 h 524"/>
                <a:gd name="T20" fmla="*/ 319 w 429"/>
                <a:gd name="T21" fmla="*/ 333 h 524"/>
                <a:gd name="T22" fmla="*/ 312 w 429"/>
                <a:gd name="T23" fmla="*/ 412 h 524"/>
                <a:gd name="T24" fmla="*/ 304 w 429"/>
                <a:gd name="T25" fmla="*/ 439 h 524"/>
                <a:gd name="T26" fmla="*/ 290 w 429"/>
                <a:gd name="T27" fmla="*/ 448 h 524"/>
                <a:gd name="T28" fmla="*/ 269 w 429"/>
                <a:gd name="T29" fmla="*/ 455 h 524"/>
                <a:gd name="T30" fmla="*/ 253 w 429"/>
                <a:gd name="T31" fmla="*/ 472 h 524"/>
                <a:gd name="T32" fmla="*/ 234 w 429"/>
                <a:gd name="T33" fmla="*/ 500 h 524"/>
                <a:gd name="T34" fmla="*/ 223 w 429"/>
                <a:gd name="T35" fmla="*/ 505 h 524"/>
                <a:gd name="T36" fmla="*/ 201 w 429"/>
                <a:gd name="T37" fmla="*/ 504 h 524"/>
                <a:gd name="T38" fmla="*/ 189 w 429"/>
                <a:gd name="T39" fmla="*/ 498 h 524"/>
                <a:gd name="T40" fmla="*/ 145 w 429"/>
                <a:gd name="T41" fmla="*/ 500 h 524"/>
                <a:gd name="T42" fmla="*/ 123 w 429"/>
                <a:gd name="T43" fmla="*/ 500 h 524"/>
                <a:gd name="T44" fmla="*/ 113 w 429"/>
                <a:gd name="T45" fmla="*/ 494 h 524"/>
                <a:gd name="T46" fmla="*/ 95 w 429"/>
                <a:gd name="T47" fmla="*/ 493 h 524"/>
                <a:gd name="T48" fmla="*/ 78 w 429"/>
                <a:gd name="T49" fmla="*/ 502 h 524"/>
                <a:gd name="T50" fmla="*/ 62 w 429"/>
                <a:gd name="T51" fmla="*/ 519 h 524"/>
                <a:gd name="T52" fmla="*/ 27 w 429"/>
                <a:gd name="T53" fmla="*/ 491 h 524"/>
                <a:gd name="T54" fmla="*/ 6 w 429"/>
                <a:gd name="T55" fmla="*/ 447 h 524"/>
                <a:gd name="T56" fmla="*/ 25 w 429"/>
                <a:gd name="T57" fmla="*/ 430 h 524"/>
                <a:gd name="T58" fmla="*/ 42 w 429"/>
                <a:gd name="T59" fmla="*/ 424 h 524"/>
                <a:gd name="T60" fmla="*/ 61 w 429"/>
                <a:gd name="T61" fmla="*/ 428 h 524"/>
                <a:gd name="T62" fmla="*/ 58 w 429"/>
                <a:gd name="T63" fmla="*/ 418 h 524"/>
                <a:gd name="T64" fmla="*/ 45 w 429"/>
                <a:gd name="T65" fmla="*/ 386 h 524"/>
                <a:gd name="T66" fmla="*/ 47 w 429"/>
                <a:gd name="T67" fmla="*/ 366 h 524"/>
                <a:gd name="T68" fmla="*/ 57 w 429"/>
                <a:gd name="T69" fmla="*/ 356 h 524"/>
                <a:gd name="T70" fmla="*/ 71 w 429"/>
                <a:gd name="T71" fmla="*/ 352 h 524"/>
                <a:gd name="T72" fmla="*/ 89 w 429"/>
                <a:gd name="T73" fmla="*/ 337 h 524"/>
                <a:gd name="T74" fmla="*/ 104 w 429"/>
                <a:gd name="T75" fmla="*/ 333 h 524"/>
                <a:gd name="T76" fmla="*/ 115 w 429"/>
                <a:gd name="T77" fmla="*/ 342 h 524"/>
                <a:gd name="T78" fmla="*/ 135 w 429"/>
                <a:gd name="T79" fmla="*/ 359 h 524"/>
                <a:gd name="T80" fmla="*/ 154 w 429"/>
                <a:gd name="T81" fmla="*/ 351 h 524"/>
                <a:gd name="T82" fmla="*/ 181 w 429"/>
                <a:gd name="T83" fmla="*/ 353 h 524"/>
                <a:gd name="T84" fmla="*/ 199 w 429"/>
                <a:gd name="T85" fmla="*/ 340 h 524"/>
                <a:gd name="T86" fmla="*/ 210 w 429"/>
                <a:gd name="T87" fmla="*/ 315 h 524"/>
                <a:gd name="T88" fmla="*/ 213 w 429"/>
                <a:gd name="T89" fmla="*/ 290 h 524"/>
                <a:gd name="T90" fmla="*/ 215 w 429"/>
                <a:gd name="T91" fmla="*/ 269 h 524"/>
                <a:gd name="T92" fmla="*/ 201 w 429"/>
                <a:gd name="T93" fmla="*/ 236 h 524"/>
                <a:gd name="T94" fmla="*/ 188 w 429"/>
                <a:gd name="T95" fmla="*/ 203 h 524"/>
                <a:gd name="T96" fmla="*/ 207 w 429"/>
                <a:gd name="T97" fmla="*/ 177 h 524"/>
                <a:gd name="T98" fmla="*/ 210 w 429"/>
                <a:gd name="T99" fmla="*/ 164 h 524"/>
                <a:gd name="T100" fmla="*/ 200 w 429"/>
                <a:gd name="T101" fmla="*/ 155 h 524"/>
                <a:gd name="T102" fmla="*/ 197 w 429"/>
                <a:gd name="T103" fmla="*/ 137 h 524"/>
                <a:gd name="T104" fmla="*/ 188 w 429"/>
                <a:gd name="T105" fmla="*/ 129 h 524"/>
                <a:gd name="T106" fmla="*/ 161 w 429"/>
                <a:gd name="T107" fmla="*/ 132 h 524"/>
                <a:gd name="T108" fmla="*/ 137 w 429"/>
                <a:gd name="T109" fmla="*/ 131 h 524"/>
                <a:gd name="T110" fmla="*/ 125 w 429"/>
                <a:gd name="T111" fmla="*/ 119 h 524"/>
                <a:gd name="T112" fmla="*/ 123 w 429"/>
                <a:gd name="T113" fmla="*/ 103 h 524"/>
                <a:gd name="T114" fmla="*/ 132 w 429"/>
                <a:gd name="T115" fmla="*/ 76 h 524"/>
                <a:gd name="T116" fmla="*/ 306 w 429"/>
                <a:gd name="T117" fmla="*/ 38 h 524"/>
                <a:gd name="T118" fmla="*/ 323 w 429"/>
                <a:gd name="T119" fmla="*/ 17 h 524"/>
                <a:gd name="T120" fmla="*/ 343 w 429"/>
                <a:gd name="T121" fmla="*/ 7 h 524"/>
                <a:gd name="T122" fmla="*/ 374 w 429"/>
                <a:gd name="T123" fmla="*/ 5 h 524"/>
                <a:gd name="T124" fmla="*/ 408 w 429"/>
                <a:gd name="T125" fmla="*/ 4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3" name="Freeform 452">
              <a:extLst>
                <a:ext uri="{FF2B5EF4-FFF2-40B4-BE49-F238E27FC236}">
                  <a16:creationId xmlns="" xmlns:a16="http://schemas.microsoft.com/office/drawing/2014/main" id="{F14DCF3D-B50F-8744-9690-F40636B9EAD6}"/>
                </a:ext>
              </a:extLst>
            </p:cNvPr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4316413" y="2192338"/>
              <a:ext cx="127000" cy="114300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4" name="Freeform 453">
              <a:extLst>
                <a:ext uri="{FF2B5EF4-FFF2-40B4-BE49-F238E27FC236}">
                  <a16:creationId xmlns="" xmlns:a16="http://schemas.microsoft.com/office/drawing/2014/main" id="{F923AA7F-53ED-CC40-895F-FE0E4B8A35F0}"/>
                </a:ext>
              </a:extLst>
            </p:cNvPr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4267200" y="2051050"/>
              <a:ext cx="168275" cy="77788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5" name="Freeform 454">
              <a:extLst>
                <a:ext uri="{FF2B5EF4-FFF2-40B4-BE49-F238E27FC236}">
                  <a16:creationId xmlns="" xmlns:a16="http://schemas.microsoft.com/office/drawing/2014/main" id="{22B31F3D-2E9B-264B-922F-0EF8E238568F}"/>
                </a:ext>
              </a:extLst>
            </p:cNvPr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230688" y="1906588"/>
              <a:ext cx="30162" cy="60325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6" name="Freeform 455">
              <a:extLst>
                <a:ext uri="{FF2B5EF4-FFF2-40B4-BE49-F238E27FC236}">
                  <a16:creationId xmlns="" xmlns:a16="http://schemas.microsoft.com/office/drawing/2014/main" id="{D7AE5F6D-0744-0A4B-AE76-AC10B3562DDF}"/>
                </a:ext>
              </a:extLst>
            </p:cNvPr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4202113" y="1911350"/>
              <a:ext cx="25400" cy="58738"/>
            </a:xfrm>
            <a:custGeom>
              <a:avLst/>
              <a:gdLst>
                <a:gd name="T0" fmla="*/ 0 w 60"/>
                <a:gd name="T1" fmla="*/ 6 h 55"/>
                <a:gd name="T2" fmla="*/ 0 w 60"/>
                <a:gd name="T3" fmla="*/ 24 h 55"/>
                <a:gd name="T4" fmla="*/ 5 w 60"/>
                <a:gd name="T5" fmla="*/ 32 h 55"/>
                <a:gd name="T6" fmla="*/ 10 w 60"/>
                <a:gd name="T7" fmla="*/ 40 h 55"/>
                <a:gd name="T8" fmla="*/ 16 w 60"/>
                <a:gd name="T9" fmla="*/ 45 h 55"/>
                <a:gd name="T10" fmla="*/ 21 w 60"/>
                <a:gd name="T11" fmla="*/ 49 h 55"/>
                <a:gd name="T12" fmla="*/ 27 w 60"/>
                <a:gd name="T13" fmla="*/ 52 h 55"/>
                <a:gd name="T14" fmla="*/ 33 w 60"/>
                <a:gd name="T15" fmla="*/ 54 h 55"/>
                <a:gd name="T16" fmla="*/ 40 w 60"/>
                <a:gd name="T17" fmla="*/ 55 h 55"/>
                <a:gd name="T18" fmla="*/ 46 w 60"/>
                <a:gd name="T19" fmla="*/ 55 h 55"/>
                <a:gd name="T20" fmla="*/ 53 w 60"/>
                <a:gd name="T21" fmla="*/ 52 h 55"/>
                <a:gd name="T22" fmla="*/ 60 w 60"/>
                <a:gd name="T23" fmla="*/ 49 h 55"/>
                <a:gd name="T24" fmla="*/ 50 w 60"/>
                <a:gd name="T25" fmla="*/ 34 h 55"/>
                <a:gd name="T26" fmla="*/ 42 w 60"/>
                <a:gd name="T27" fmla="*/ 22 h 55"/>
                <a:gd name="T28" fmla="*/ 39 w 60"/>
                <a:gd name="T29" fmla="*/ 17 h 55"/>
                <a:gd name="T30" fmla="*/ 35 w 60"/>
                <a:gd name="T31" fmla="*/ 12 h 55"/>
                <a:gd name="T32" fmla="*/ 34 w 60"/>
                <a:gd name="T33" fmla="*/ 6 h 55"/>
                <a:gd name="T34" fmla="*/ 33 w 60"/>
                <a:gd name="T35" fmla="*/ 0 h 55"/>
                <a:gd name="T36" fmla="*/ 23 w 60"/>
                <a:gd name="T37" fmla="*/ 1 h 55"/>
                <a:gd name="T38" fmla="*/ 15 w 60"/>
                <a:gd name="T39" fmla="*/ 3 h 55"/>
                <a:gd name="T40" fmla="*/ 7 w 60"/>
                <a:gd name="T41" fmla="*/ 5 h 55"/>
                <a:gd name="T42" fmla="*/ 0 w 60"/>
                <a:gd name="T43" fmla="*/ 6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7" name="Freeform 456">
              <a:extLst>
                <a:ext uri="{FF2B5EF4-FFF2-40B4-BE49-F238E27FC236}">
                  <a16:creationId xmlns="" xmlns:a16="http://schemas.microsoft.com/office/drawing/2014/main" id="{BFA5CA60-231F-064E-95AB-94801E84F70A}"/>
                </a:ext>
              </a:extLst>
            </p:cNvPr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4171950" y="1857375"/>
              <a:ext cx="52388" cy="77788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8" name="Freeform 457">
              <a:extLst>
                <a:ext uri="{FF2B5EF4-FFF2-40B4-BE49-F238E27FC236}">
                  <a16:creationId xmlns="" xmlns:a16="http://schemas.microsoft.com/office/drawing/2014/main" id="{F17FB3FB-8ECF-234B-8BF3-F2580473B73A}"/>
                </a:ext>
              </a:extLst>
            </p:cNvPr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603750" y="2662238"/>
              <a:ext cx="273050" cy="307975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rgbClr val="D8E046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79" name="Freeform 458">
              <a:extLst>
                <a:ext uri="{FF2B5EF4-FFF2-40B4-BE49-F238E27FC236}">
                  <a16:creationId xmlns="" xmlns:a16="http://schemas.microsoft.com/office/drawing/2014/main" id="{21CEC160-3760-5044-808A-1D0ECBDBCC2C}"/>
                </a:ext>
              </a:extLst>
            </p:cNvPr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198938" y="2297113"/>
              <a:ext cx="17462" cy="57150"/>
            </a:xfrm>
            <a:custGeom>
              <a:avLst/>
              <a:gdLst>
                <a:gd name="T0" fmla="*/ 7 w 40"/>
                <a:gd name="T1" fmla="*/ 31 h 93"/>
                <a:gd name="T2" fmla="*/ 10 w 40"/>
                <a:gd name="T3" fmla="*/ 30 h 93"/>
                <a:gd name="T4" fmla="*/ 14 w 40"/>
                <a:gd name="T5" fmla="*/ 26 h 93"/>
                <a:gd name="T6" fmla="*/ 20 w 40"/>
                <a:gd name="T7" fmla="*/ 20 h 93"/>
                <a:gd name="T8" fmla="*/ 25 w 40"/>
                <a:gd name="T9" fmla="*/ 15 h 93"/>
                <a:gd name="T10" fmla="*/ 35 w 40"/>
                <a:gd name="T11" fmla="*/ 4 h 93"/>
                <a:gd name="T12" fmla="*/ 40 w 40"/>
                <a:gd name="T13" fmla="*/ 0 h 93"/>
                <a:gd name="T14" fmla="*/ 37 w 40"/>
                <a:gd name="T15" fmla="*/ 26 h 93"/>
                <a:gd name="T16" fmla="*/ 35 w 40"/>
                <a:gd name="T17" fmla="*/ 53 h 93"/>
                <a:gd name="T18" fmla="*/ 34 w 40"/>
                <a:gd name="T19" fmla="*/ 65 h 93"/>
                <a:gd name="T20" fmla="*/ 34 w 40"/>
                <a:gd name="T21" fmla="*/ 77 h 93"/>
                <a:gd name="T22" fmla="*/ 35 w 40"/>
                <a:gd name="T23" fmla="*/ 82 h 93"/>
                <a:gd name="T24" fmla="*/ 36 w 40"/>
                <a:gd name="T25" fmla="*/ 86 h 93"/>
                <a:gd name="T26" fmla="*/ 37 w 40"/>
                <a:gd name="T27" fmla="*/ 90 h 93"/>
                <a:gd name="T28" fmla="*/ 40 w 40"/>
                <a:gd name="T29" fmla="*/ 93 h 93"/>
                <a:gd name="T30" fmla="*/ 26 w 40"/>
                <a:gd name="T31" fmla="*/ 93 h 93"/>
                <a:gd name="T32" fmla="*/ 13 w 40"/>
                <a:gd name="T33" fmla="*/ 93 h 93"/>
                <a:gd name="T34" fmla="*/ 11 w 40"/>
                <a:gd name="T35" fmla="*/ 92 h 93"/>
                <a:gd name="T36" fmla="*/ 8 w 40"/>
                <a:gd name="T37" fmla="*/ 91 h 93"/>
                <a:gd name="T38" fmla="*/ 6 w 40"/>
                <a:gd name="T39" fmla="*/ 88 h 93"/>
                <a:gd name="T40" fmla="*/ 4 w 40"/>
                <a:gd name="T41" fmla="*/ 86 h 93"/>
                <a:gd name="T42" fmla="*/ 1 w 40"/>
                <a:gd name="T43" fmla="*/ 80 h 93"/>
                <a:gd name="T44" fmla="*/ 0 w 40"/>
                <a:gd name="T45" fmla="*/ 73 h 93"/>
                <a:gd name="T46" fmla="*/ 1 w 40"/>
                <a:gd name="T47" fmla="*/ 64 h 93"/>
                <a:gd name="T48" fmla="*/ 3 w 40"/>
                <a:gd name="T49" fmla="*/ 50 h 93"/>
                <a:gd name="T50" fmla="*/ 6 w 40"/>
                <a:gd name="T51" fmla="*/ 37 h 93"/>
                <a:gd name="T52" fmla="*/ 7 w 40"/>
                <a:gd name="T53" fmla="*/ 31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0" name="Freeform 459">
              <a:extLst>
                <a:ext uri="{FF2B5EF4-FFF2-40B4-BE49-F238E27FC236}">
                  <a16:creationId xmlns="" xmlns:a16="http://schemas.microsoft.com/office/drawing/2014/main" id="{2F6E97B1-F437-0541-A609-F88060BB9612}"/>
                </a:ext>
              </a:extLst>
            </p:cNvPr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3838575" y="2047875"/>
              <a:ext cx="295275" cy="273050"/>
            </a:xfrm>
            <a:custGeom>
              <a:avLst/>
              <a:gdLst>
                <a:gd name="T0" fmla="*/ 149 w 664"/>
                <a:gd name="T1" fmla="*/ 445 h 518"/>
                <a:gd name="T2" fmla="*/ 151 w 664"/>
                <a:gd name="T3" fmla="*/ 431 h 518"/>
                <a:gd name="T4" fmla="*/ 146 w 664"/>
                <a:gd name="T5" fmla="*/ 400 h 518"/>
                <a:gd name="T6" fmla="*/ 151 w 664"/>
                <a:gd name="T7" fmla="*/ 353 h 518"/>
                <a:gd name="T8" fmla="*/ 146 w 664"/>
                <a:gd name="T9" fmla="*/ 298 h 518"/>
                <a:gd name="T10" fmla="*/ 134 w 664"/>
                <a:gd name="T11" fmla="*/ 251 h 518"/>
                <a:gd name="T12" fmla="*/ 109 w 664"/>
                <a:gd name="T13" fmla="*/ 241 h 518"/>
                <a:gd name="T14" fmla="*/ 20 w 664"/>
                <a:gd name="T15" fmla="*/ 192 h 518"/>
                <a:gd name="T16" fmla="*/ 24 w 664"/>
                <a:gd name="T17" fmla="*/ 171 h 518"/>
                <a:gd name="T18" fmla="*/ 36 w 664"/>
                <a:gd name="T19" fmla="*/ 159 h 518"/>
                <a:gd name="T20" fmla="*/ 48 w 664"/>
                <a:gd name="T21" fmla="*/ 148 h 518"/>
                <a:gd name="T22" fmla="*/ 100 w 664"/>
                <a:gd name="T23" fmla="*/ 155 h 518"/>
                <a:gd name="T24" fmla="*/ 125 w 664"/>
                <a:gd name="T25" fmla="*/ 152 h 518"/>
                <a:gd name="T26" fmla="*/ 147 w 664"/>
                <a:gd name="T27" fmla="*/ 157 h 518"/>
                <a:gd name="T28" fmla="*/ 165 w 664"/>
                <a:gd name="T29" fmla="*/ 94 h 518"/>
                <a:gd name="T30" fmla="*/ 185 w 664"/>
                <a:gd name="T31" fmla="*/ 109 h 518"/>
                <a:gd name="T32" fmla="*/ 207 w 664"/>
                <a:gd name="T33" fmla="*/ 110 h 518"/>
                <a:gd name="T34" fmla="*/ 236 w 664"/>
                <a:gd name="T35" fmla="*/ 99 h 518"/>
                <a:gd name="T36" fmla="*/ 264 w 664"/>
                <a:gd name="T37" fmla="*/ 80 h 518"/>
                <a:gd name="T38" fmla="*/ 289 w 664"/>
                <a:gd name="T39" fmla="*/ 57 h 518"/>
                <a:gd name="T40" fmla="*/ 308 w 664"/>
                <a:gd name="T41" fmla="*/ 32 h 518"/>
                <a:gd name="T42" fmla="*/ 318 w 664"/>
                <a:gd name="T43" fmla="*/ 12 h 518"/>
                <a:gd name="T44" fmla="*/ 370 w 664"/>
                <a:gd name="T45" fmla="*/ 4 h 518"/>
                <a:gd name="T46" fmla="*/ 404 w 664"/>
                <a:gd name="T47" fmla="*/ 32 h 518"/>
                <a:gd name="T48" fmla="*/ 457 w 664"/>
                <a:gd name="T49" fmla="*/ 61 h 518"/>
                <a:gd name="T50" fmla="*/ 511 w 664"/>
                <a:gd name="T51" fmla="*/ 90 h 518"/>
                <a:gd name="T52" fmla="*/ 552 w 664"/>
                <a:gd name="T53" fmla="*/ 107 h 518"/>
                <a:gd name="T54" fmla="*/ 578 w 664"/>
                <a:gd name="T55" fmla="*/ 116 h 518"/>
                <a:gd name="T56" fmla="*/ 623 w 664"/>
                <a:gd name="T57" fmla="*/ 121 h 518"/>
                <a:gd name="T58" fmla="*/ 658 w 664"/>
                <a:gd name="T59" fmla="*/ 136 h 518"/>
                <a:gd name="T60" fmla="*/ 645 w 664"/>
                <a:gd name="T61" fmla="*/ 166 h 518"/>
                <a:gd name="T62" fmla="*/ 620 w 664"/>
                <a:gd name="T63" fmla="*/ 236 h 518"/>
                <a:gd name="T64" fmla="*/ 598 w 664"/>
                <a:gd name="T65" fmla="*/ 272 h 518"/>
                <a:gd name="T66" fmla="*/ 585 w 664"/>
                <a:gd name="T67" fmla="*/ 286 h 518"/>
                <a:gd name="T68" fmla="*/ 599 w 664"/>
                <a:gd name="T69" fmla="*/ 298 h 518"/>
                <a:gd name="T70" fmla="*/ 618 w 664"/>
                <a:gd name="T71" fmla="*/ 307 h 518"/>
                <a:gd name="T72" fmla="*/ 623 w 664"/>
                <a:gd name="T73" fmla="*/ 334 h 518"/>
                <a:gd name="T74" fmla="*/ 620 w 664"/>
                <a:gd name="T75" fmla="*/ 347 h 518"/>
                <a:gd name="T76" fmla="*/ 618 w 664"/>
                <a:gd name="T77" fmla="*/ 372 h 518"/>
                <a:gd name="T78" fmla="*/ 622 w 664"/>
                <a:gd name="T79" fmla="*/ 399 h 518"/>
                <a:gd name="T80" fmla="*/ 632 w 664"/>
                <a:gd name="T81" fmla="*/ 423 h 518"/>
                <a:gd name="T82" fmla="*/ 608 w 664"/>
                <a:gd name="T83" fmla="*/ 457 h 518"/>
                <a:gd name="T84" fmla="*/ 569 w 664"/>
                <a:gd name="T85" fmla="*/ 484 h 518"/>
                <a:gd name="T86" fmla="*/ 542 w 664"/>
                <a:gd name="T87" fmla="*/ 489 h 518"/>
                <a:gd name="T88" fmla="*/ 509 w 664"/>
                <a:gd name="T89" fmla="*/ 481 h 518"/>
                <a:gd name="T90" fmla="*/ 477 w 664"/>
                <a:gd name="T91" fmla="*/ 460 h 518"/>
                <a:gd name="T92" fmla="*/ 463 w 664"/>
                <a:gd name="T93" fmla="*/ 456 h 518"/>
                <a:gd name="T94" fmla="*/ 443 w 664"/>
                <a:gd name="T95" fmla="*/ 457 h 518"/>
                <a:gd name="T96" fmla="*/ 423 w 664"/>
                <a:gd name="T97" fmla="*/ 465 h 518"/>
                <a:gd name="T98" fmla="*/ 406 w 664"/>
                <a:gd name="T99" fmla="*/ 477 h 518"/>
                <a:gd name="T100" fmla="*/ 388 w 664"/>
                <a:gd name="T101" fmla="*/ 503 h 518"/>
                <a:gd name="T102" fmla="*/ 385 w 664"/>
                <a:gd name="T103" fmla="*/ 517 h 518"/>
                <a:gd name="T104" fmla="*/ 333 w 664"/>
                <a:gd name="T105" fmla="*/ 515 h 518"/>
                <a:gd name="T106" fmla="*/ 317 w 664"/>
                <a:gd name="T107" fmla="*/ 507 h 518"/>
                <a:gd name="T108" fmla="*/ 307 w 664"/>
                <a:gd name="T109" fmla="*/ 500 h 518"/>
                <a:gd name="T110" fmla="*/ 296 w 664"/>
                <a:gd name="T111" fmla="*/ 508 h 518"/>
                <a:gd name="T112" fmla="*/ 287 w 664"/>
                <a:gd name="T113" fmla="*/ 516 h 518"/>
                <a:gd name="T114" fmla="*/ 268 w 664"/>
                <a:gd name="T115" fmla="*/ 516 h 518"/>
                <a:gd name="T116" fmla="*/ 227 w 664"/>
                <a:gd name="T117" fmla="*/ 506 h 518"/>
                <a:gd name="T118" fmla="*/ 185 w 664"/>
                <a:gd name="T119" fmla="*/ 487 h 518"/>
                <a:gd name="T120" fmla="*/ 160 w 664"/>
                <a:gd name="T121" fmla="*/ 469 h 518"/>
                <a:gd name="T122" fmla="*/ 146 w 664"/>
                <a:gd name="T123" fmla="*/ 450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1" name="Freeform 460">
              <a:extLst>
                <a:ext uri="{FF2B5EF4-FFF2-40B4-BE49-F238E27FC236}">
                  <a16:creationId xmlns="" xmlns:a16="http://schemas.microsoft.com/office/drawing/2014/main" id="{5781897A-D74E-5845-ABE3-B7A3D375B89C}"/>
                </a:ext>
              </a:extLst>
            </p:cNvPr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919663" y="2282825"/>
              <a:ext cx="150812" cy="82550"/>
            </a:xfrm>
            <a:custGeom>
              <a:avLst/>
              <a:gdLst>
                <a:gd name="T0" fmla="*/ 332 w 352"/>
                <a:gd name="T1" fmla="*/ 91 h 153"/>
                <a:gd name="T2" fmla="*/ 352 w 352"/>
                <a:gd name="T3" fmla="*/ 153 h 153"/>
                <a:gd name="T4" fmla="*/ 326 w 352"/>
                <a:gd name="T5" fmla="*/ 141 h 153"/>
                <a:gd name="T6" fmla="*/ 299 w 352"/>
                <a:gd name="T7" fmla="*/ 129 h 153"/>
                <a:gd name="T8" fmla="*/ 266 w 352"/>
                <a:gd name="T9" fmla="*/ 141 h 153"/>
                <a:gd name="T10" fmla="*/ 232 w 352"/>
                <a:gd name="T11" fmla="*/ 141 h 153"/>
                <a:gd name="T12" fmla="*/ 227 w 352"/>
                <a:gd name="T13" fmla="*/ 135 h 153"/>
                <a:gd name="T14" fmla="*/ 226 w 352"/>
                <a:gd name="T15" fmla="*/ 135 h 153"/>
                <a:gd name="T16" fmla="*/ 219 w 352"/>
                <a:gd name="T17" fmla="*/ 129 h 153"/>
                <a:gd name="T18" fmla="*/ 213 w 352"/>
                <a:gd name="T19" fmla="*/ 125 h 153"/>
                <a:gd name="T20" fmla="*/ 205 w 352"/>
                <a:gd name="T21" fmla="*/ 121 h 153"/>
                <a:gd name="T22" fmla="*/ 197 w 352"/>
                <a:gd name="T23" fmla="*/ 118 h 153"/>
                <a:gd name="T24" fmla="*/ 181 w 352"/>
                <a:gd name="T25" fmla="*/ 113 h 153"/>
                <a:gd name="T26" fmla="*/ 163 w 352"/>
                <a:gd name="T27" fmla="*/ 110 h 153"/>
                <a:gd name="T28" fmla="*/ 126 w 352"/>
                <a:gd name="T29" fmla="*/ 107 h 153"/>
                <a:gd name="T30" fmla="*/ 86 w 352"/>
                <a:gd name="T31" fmla="*/ 104 h 153"/>
                <a:gd name="T32" fmla="*/ 85 w 352"/>
                <a:gd name="T33" fmla="*/ 94 h 153"/>
                <a:gd name="T34" fmla="*/ 82 w 352"/>
                <a:gd name="T35" fmla="*/ 84 h 153"/>
                <a:gd name="T36" fmla="*/ 80 w 352"/>
                <a:gd name="T37" fmla="*/ 75 h 153"/>
                <a:gd name="T38" fmla="*/ 75 w 352"/>
                <a:gd name="T39" fmla="*/ 67 h 153"/>
                <a:gd name="T40" fmla="*/ 71 w 352"/>
                <a:gd name="T41" fmla="*/ 59 h 153"/>
                <a:gd name="T42" fmla="*/ 67 w 352"/>
                <a:gd name="T43" fmla="*/ 52 h 153"/>
                <a:gd name="T44" fmla="*/ 61 w 352"/>
                <a:gd name="T45" fmla="*/ 44 h 153"/>
                <a:gd name="T46" fmla="*/ 56 w 352"/>
                <a:gd name="T47" fmla="*/ 37 h 153"/>
                <a:gd name="T48" fmla="*/ 44 w 352"/>
                <a:gd name="T49" fmla="*/ 26 h 153"/>
                <a:gd name="T50" fmla="*/ 29 w 352"/>
                <a:gd name="T51" fmla="*/ 16 h 153"/>
                <a:gd name="T52" fmla="*/ 15 w 352"/>
                <a:gd name="T53" fmla="*/ 7 h 153"/>
                <a:gd name="T54" fmla="*/ 0 w 352"/>
                <a:gd name="T55" fmla="*/ 0 h 153"/>
                <a:gd name="T56" fmla="*/ 7 w 352"/>
                <a:gd name="T57" fmla="*/ 0 h 153"/>
                <a:gd name="T58" fmla="*/ 60 w 352"/>
                <a:gd name="T59" fmla="*/ 18 h 153"/>
                <a:gd name="T60" fmla="*/ 106 w 352"/>
                <a:gd name="T61" fmla="*/ 30 h 153"/>
                <a:gd name="T62" fmla="*/ 134 w 352"/>
                <a:gd name="T63" fmla="*/ 18 h 153"/>
                <a:gd name="T64" fmla="*/ 180 w 352"/>
                <a:gd name="T65" fmla="*/ 36 h 153"/>
                <a:gd name="T66" fmla="*/ 206 w 352"/>
                <a:gd name="T67" fmla="*/ 55 h 153"/>
                <a:gd name="T68" fmla="*/ 246 w 352"/>
                <a:gd name="T69" fmla="*/ 49 h 153"/>
                <a:gd name="T70" fmla="*/ 286 w 352"/>
                <a:gd name="T71" fmla="*/ 61 h 153"/>
                <a:gd name="T72" fmla="*/ 313 w 352"/>
                <a:gd name="T73" fmla="*/ 79 h 153"/>
                <a:gd name="T74" fmla="*/ 332 w 352"/>
                <a:gd name="T75" fmla="*/ 91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2" name="Freeform 461">
              <a:extLst>
                <a:ext uri="{FF2B5EF4-FFF2-40B4-BE49-F238E27FC236}">
                  <a16:creationId xmlns="" xmlns:a16="http://schemas.microsoft.com/office/drawing/2014/main" id="{753CE58D-EA09-F940-851D-8EC9ACE35396}"/>
                </a:ext>
              </a:extLst>
            </p:cNvPr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468813" y="2343150"/>
              <a:ext cx="147637" cy="173038"/>
            </a:xfrm>
            <a:custGeom>
              <a:avLst/>
              <a:gdLst>
                <a:gd name="T0" fmla="*/ 230 w 331"/>
                <a:gd name="T1" fmla="*/ 40 h 327"/>
                <a:gd name="T2" fmla="*/ 193 w 331"/>
                <a:gd name="T3" fmla="*/ 56 h 327"/>
                <a:gd name="T4" fmla="*/ 182 w 331"/>
                <a:gd name="T5" fmla="*/ 67 h 327"/>
                <a:gd name="T6" fmla="*/ 181 w 331"/>
                <a:gd name="T7" fmla="*/ 81 h 327"/>
                <a:gd name="T8" fmla="*/ 184 w 331"/>
                <a:gd name="T9" fmla="*/ 94 h 327"/>
                <a:gd name="T10" fmla="*/ 177 w 331"/>
                <a:gd name="T11" fmla="*/ 102 h 327"/>
                <a:gd name="T12" fmla="*/ 168 w 331"/>
                <a:gd name="T13" fmla="*/ 105 h 327"/>
                <a:gd name="T14" fmla="*/ 160 w 331"/>
                <a:gd name="T15" fmla="*/ 98 h 327"/>
                <a:gd name="T16" fmla="*/ 149 w 331"/>
                <a:gd name="T17" fmla="*/ 85 h 327"/>
                <a:gd name="T18" fmla="*/ 126 w 331"/>
                <a:gd name="T19" fmla="*/ 74 h 327"/>
                <a:gd name="T20" fmla="*/ 127 w 331"/>
                <a:gd name="T21" fmla="*/ 96 h 327"/>
                <a:gd name="T22" fmla="*/ 139 w 331"/>
                <a:gd name="T23" fmla="*/ 116 h 327"/>
                <a:gd name="T24" fmla="*/ 154 w 331"/>
                <a:gd name="T25" fmla="*/ 129 h 327"/>
                <a:gd name="T26" fmla="*/ 159 w 331"/>
                <a:gd name="T27" fmla="*/ 130 h 327"/>
                <a:gd name="T28" fmla="*/ 159 w 331"/>
                <a:gd name="T29" fmla="*/ 177 h 327"/>
                <a:gd name="T30" fmla="*/ 159 w 331"/>
                <a:gd name="T31" fmla="*/ 237 h 327"/>
                <a:gd name="T32" fmla="*/ 156 w 331"/>
                <a:gd name="T33" fmla="*/ 251 h 327"/>
                <a:gd name="T34" fmla="*/ 147 w 331"/>
                <a:gd name="T35" fmla="*/ 259 h 327"/>
                <a:gd name="T36" fmla="*/ 145 w 331"/>
                <a:gd name="T37" fmla="*/ 264 h 327"/>
                <a:gd name="T38" fmla="*/ 162 w 331"/>
                <a:gd name="T39" fmla="*/ 276 h 327"/>
                <a:gd name="T40" fmla="*/ 167 w 331"/>
                <a:gd name="T41" fmla="*/ 286 h 327"/>
                <a:gd name="T42" fmla="*/ 155 w 331"/>
                <a:gd name="T43" fmla="*/ 295 h 327"/>
                <a:gd name="T44" fmla="*/ 140 w 331"/>
                <a:gd name="T45" fmla="*/ 297 h 327"/>
                <a:gd name="T46" fmla="*/ 130 w 331"/>
                <a:gd name="T47" fmla="*/ 307 h 327"/>
                <a:gd name="T48" fmla="*/ 126 w 331"/>
                <a:gd name="T49" fmla="*/ 321 h 327"/>
                <a:gd name="T50" fmla="*/ 121 w 331"/>
                <a:gd name="T51" fmla="*/ 300 h 327"/>
                <a:gd name="T52" fmla="*/ 124 w 331"/>
                <a:gd name="T53" fmla="*/ 288 h 327"/>
                <a:gd name="T54" fmla="*/ 109 w 331"/>
                <a:gd name="T55" fmla="*/ 286 h 327"/>
                <a:gd name="T56" fmla="*/ 93 w 331"/>
                <a:gd name="T57" fmla="*/ 292 h 327"/>
                <a:gd name="T58" fmla="*/ 79 w 331"/>
                <a:gd name="T59" fmla="*/ 296 h 327"/>
                <a:gd name="T60" fmla="*/ 73 w 331"/>
                <a:gd name="T61" fmla="*/ 242 h 327"/>
                <a:gd name="T62" fmla="*/ 79 w 331"/>
                <a:gd name="T63" fmla="*/ 216 h 327"/>
                <a:gd name="T64" fmla="*/ 48 w 331"/>
                <a:gd name="T65" fmla="*/ 211 h 327"/>
                <a:gd name="T66" fmla="*/ 28 w 331"/>
                <a:gd name="T67" fmla="*/ 198 h 327"/>
                <a:gd name="T68" fmla="*/ 13 w 331"/>
                <a:gd name="T69" fmla="*/ 173 h 327"/>
                <a:gd name="T70" fmla="*/ 0 w 331"/>
                <a:gd name="T71" fmla="*/ 130 h 327"/>
                <a:gd name="T72" fmla="*/ 28 w 331"/>
                <a:gd name="T73" fmla="*/ 111 h 327"/>
                <a:gd name="T74" fmla="*/ 50 w 331"/>
                <a:gd name="T75" fmla="*/ 81 h 327"/>
                <a:gd name="T76" fmla="*/ 73 w 331"/>
                <a:gd name="T77" fmla="*/ 55 h 327"/>
                <a:gd name="T78" fmla="*/ 115 w 331"/>
                <a:gd name="T79" fmla="*/ 41 h 327"/>
                <a:gd name="T80" fmla="*/ 180 w 331"/>
                <a:gd name="T81" fmla="*/ 14 h 327"/>
                <a:gd name="T82" fmla="*/ 218 w 331"/>
                <a:gd name="T83" fmla="*/ 7 h 327"/>
                <a:gd name="T84" fmla="*/ 249 w 331"/>
                <a:gd name="T85" fmla="*/ 14 h 327"/>
                <a:gd name="T86" fmla="*/ 271 w 331"/>
                <a:gd name="T87" fmla="*/ 27 h 327"/>
                <a:gd name="T88" fmla="*/ 292 w 331"/>
                <a:gd name="T89" fmla="*/ 30 h 327"/>
                <a:gd name="T90" fmla="*/ 307 w 331"/>
                <a:gd name="T91" fmla="*/ 20 h 327"/>
                <a:gd name="T92" fmla="*/ 327 w 331"/>
                <a:gd name="T93" fmla="*/ 6 h 327"/>
                <a:gd name="T94" fmla="*/ 330 w 331"/>
                <a:gd name="T95" fmla="*/ 32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3" name="Freeform 462">
              <a:extLst>
                <a:ext uri="{FF2B5EF4-FFF2-40B4-BE49-F238E27FC236}">
                  <a16:creationId xmlns="" xmlns:a16="http://schemas.microsoft.com/office/drawing/2014/main" id="{CA01A60F-0A37-F64C-AFAF-AFE9D63E5DAF}"/>
                </a:ext>
              </a:extLst>
            </p:cNvPr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552950" y="2535238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44 w 153"/>
                <a:gd name="T3" fmla="*/ 2 h 49"/>
                <a:gd name="T4" fmla="*/ 83 w 153"/>
                <a:gd name="T5" fmla="*/ 6 h 49"/>
                <a:gd name="T6" fmla="*/ 103 w 153"/>
                <a:gd name="T7" fmla="*/ 8 h 49"/>
                <a:gd name="T8" fmla="*/ 121 w 153"/>
                <a:gd name="T9" fmla="*/ 7 h 49"/>
                <a:gd name="T10" fmla="*/ 130 w 153"/>
                <a:gd name="T11" fmla="*/ 6 h 49"/>
                <a:gd name="T12" fmla="*/ 137 w 153"/>
                <a:gd name="T13" fmla="*/ 5 h 49"/>
                <a:gd name="T14" fmla="*/ 145 w 153"/>
                <a:gd name="T15" fmla="*/ 3 h 49"/>
                <a:gd name="T16" fmla="*/ 153 w 153"/>
                <a:gd name="T17" fmla="*/ 0 h 49"/>
                <a:gd name="T18" fmla="*/ 153 w 153"/>
                <a:gd name="T19" fmla="*/ 9 h 49"/>
                <a:gd name="T20" fmla="*/ 153 w 153"/>
                <a:gd name="T21" fmla="*/ 25 h 49"/>
                <a:gd name="T22" fmla="*/ 143 w 153"/>
                <a:gd name="T23" fmla="*/ 31 h 49"/>
                <a:gd name="T24" fmla="*/ 133 w 153"/>
                <a:gd name="T25" fmla="*/ 36 h 49"/>
                <a:gd name="T26" fmla="*/ 124 w 153"/>
                <a:gd name="T27" fmla="*/ 40 h 49"/>
                <a:gd name="T28" fmla="*/ 114 w 153"/>
                <a:gd name="T29" fmla="*/ 44 h 49"/>
                <a:gd name="T30" fmla="*/ 106 w 153"/>
                <a:gd name="T31" fmla="*/ 46 h 49"/>
                <a:gd name="T32" fmla="*/ 99 w 153"/>
                <a:gd name="T33" fmla="*/ 48 h 49"/>
                <a:gd name="T34" fmla="*/ 92 w 153"/>
                <a:gd name="T35" fmla="*/ 49 h 49"/>
                <a:gd name="T36" fmla="*/ 87 w 153"/>
                <a:gd name="T37" fmla="*/ 49 h 49"/>
                <a:gd name="T38" fmla="*/ 72 w 153"/>
                <a:gd name="T39" fmla="*/ 48 h 49"/>
                <a:gd name="T40" fmla="*/ 60 w 153"/>
                <a:gd name="T41" fmla="*/ 46 h 49"/>
                <a:gd name="T42" fmla="*/ 50 w 153"/>
                <a:gd name="T43" fmla="*/ 43 h 49"/>
                <a:gd name="T44" fmla="*/ 41 w 153"/>
                <a:gd name="T45" fmla="*/ 38 h 49"/>
                <a:gd name="T46" fmla="*/ 22 w 153"/>
                <a:gd name="T47" fmla="*/ 29 h 49"/>
                <a:gd name="T48" fmla="*/ 0 w 153"/>
                <a:gd name="T49" fmla="*/ 19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4" name="Freeform 463">
              <a:extLst>
                <a:ext uri="{FF2B5EF4-FFF2-40B4-BE49-F238E27FC236}">
                  <a16:creationId xmlns="" xmlns:a16="http://schemas.microsoft.com/office/drawing/2014/main" id="{6693B2FA-6B83-484D-8DA6-A6DB1216534B}"/>
                </a:ext>
              </a:extLst>
            </p:cNvPr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32200" y="3267075"/>
              <a:ext cx="187325" cy="158750"/>
            </a:xfrm>
            <a:custGeom>
              <a:avLst/>
              <a:gdLst>
                <a:gd name="T0" fmla="*/ 194 w 426"/>
                <a:gd name="T1" fmla="*/ 16 h 299"/>
                <a:gd name="T2" fmla="*/ 216 w 426"/>
                <a:gd name="T3" fmla="*/ 22 h 299"/>
                <a:gd name="T4" fmla="*/ 230 w 426"/>
                <a:gd name="T5" fmla="*/ 29 h 299"/>
                <a:gd name="T6" fmla="*/ 253 w 426"/>
                <a:gd name="T7" fmla="*/ 35 h 299"/>
                <a:gd name="T8" fmla="*/ 279 w 426"/>
                <a:gd name="T9" fmla="*/ 37 h 299"/>
                <a:gd name="T10" fmla="*/ 300 w 426"/>
                <a:gd name="T11" fmla="*/ 37 h 299"/>
                <a:gd name="T12" fmla="*/ 319 w 426"/>
                <a:gd name="T13" fmla="*/ 34 h 299"/>
                <a:gd name="T14" fmla="*/ 329 w 426"/>
                <a:gd name="T15" fmla="*/ 29 h 299"/>
                <a:gd name="T16" fmla="*/ 365 w 426"/>
                <a:gd name="T17" fmla="*/ 25 h 299"/>
                <a:gd name="T18" fmla="*/ 372 w 426"/>
                <a:gd name="T19" fmla="*/ 49 h 299"/>
                <a:gd name="T20" fmla="*/ 383 w 426"/>
                <a:gd name="T21" fmla="*/ 74 h 299"/>
                <a:gd name="T22" fmla="*/ 391 w 426"/>
                <a:gd name="T23" fmla="*/ 84 h 299"/>
                <a:gd name="T24" fmla="*/ 400 w 426"/>
                <a:gd name="T25" fmla="*/ 92 h 299"/>
                <a:gd name="T26" fmla="*/ 412 w 426"/>
                <a:gd name="T27" fmla="*/ 97 h 299"/>
                <a:gd name="T28" fmla="*/ 425 w 426"/>
                <a:gd name="T29" fmla="*/ 99 h 299"/>
                <a:gd name="T30" fmla="*/ 425 w 426"/>
                <a:gd name="T31" fmla="*/ 120 h 299"/>
                <a:gd name="T32" fmla="*/ 425 w 426"/>
                <a:gd name="T33" fmla="*/ 142 h 299"/>
                <a:gd name="T34" fmla="*/ 416 w 426"/>
                <a:gd name="T35" fmla="*/ 158 h 299"/>
                <a:gd name="T36" fmla="*/ 412 w 426"/>
                <a:gd name="T37" fmla="*/ 170 h 299"/>
                <a:gd name="T38" fmla="*/ 412 w 426"/>
                <a:gd name="T39" fmla="*/ 181 h 299"/>
                <a:gd name="T40" fmla="*/ 415 w 426"/>
                <a:gd name="T41" fmla="*/ 190 h 299"/>
                <a:gd name="T42" fmla="*/ 423 w 426"/>
                <a:gd name="T43" fmla="*/ 211 h 299"/>
                <a:gd name="T44" fmla="*/ 426 w 426"/>
                <a:gd name="T45" fmla="*/ 226 h 299"/>
                <a:gd name="T46" fmla="*/ 425 w 426"/>
                <a:gd name="T47" fmla="*/ 247 h 299"/>
                <a:gd name="T48" fmla="*/ 426 w 426"/>
                <a:gd name="T49" fmla="*/ 274 h 299"/>
                <a:gd name="T50" fmla="*/ 423 w 426"/>
                <a:gd name="T51" fmla="*/ 285 h 299"/>
                <a:gd name="T52" fmla="*/ 412 w 426"/>
                <a:gd name="T53" fmla="*/ 296 h 299"/>
                <a:gd name="T54" fmla="*/ 380 w 426"/>
                <a:gd name="T55" fmla="*/ 298 h 299"/>
                <a:gd name="T56" fmla="*/ 370 w 426"/>
                <a:gd name="T57" fmla="*/ 299 h 299"/>
                <a:gd name="T58" fmla="*/ 360 w 426"/>
                <a:gd name="T59" fmla="*/ 296 h 299"/>
                <a:gd name="T60" fmla="*/ 351 w 426"/>
                <a:gd name="T61" fmla="*/ 290 h 299"/>
                <a:gd name="T62" fmla="*/ 338 w 426"/>
                <a:gd name="T63" fmla="*/ 278 h 299"/>
                <a:gd name="T64" fmla="*/ 324 w 426"/>
                <a:gd name="T65" fmla="*/ 261 h 299"/>
                <a:gd name="T66" fmla="*/ 311 w 426"/>
                <a:gd name="T67" fmla="*/ 253 h 299"/>
                <a:gd name="T68" fmla="*/ 294 w 426"/>
                <a:gd name="T69" fmla="*/ 251 h 299"/>
                <a:gd name="T70" fmla="*/ 278 w 426"/>
                <a:gd name="T71" fmla="*/ 232 h 299"/>
                <a:gd name="T72" fmla="*/ 274 w 426"/>
                <a:gd name="T73" fmla="*/ 210 h 299"/>
                <a:gd name="T74" fmla="*/ 269 w 426"/>
                <a:gd name="T75" fmla="*/ 197 h 299"/>
                <a:gd name="T76" fmla="*/ 261 w 426"/>
                <a:gd name="T77" fmla="*/ 184 h 299"/>
                <a:gd name="T78" fmla="*/ 251 w 426"/>
                <a:gd name="T79" fmla="*/ 173 h 299"/>
                <a:gd name="T80" fmla="*/ 238 w 426"/>
                <a:gd name="T81" fmla="*/ 165 h 299"/>
                <a:gd name="T82" fmla="*/ 222 w 426"/>
                <a:gd name="T83" fmla="*/ 161 h 299"/>
                <a:gd name="T84" fmla="*/ 204 w 426"/>
                <a:gd name="T85" fmla="*/ 161 h 299"/>
                <a:gd name="T86" fmla="*/ 188 w 426"/>
                <a:gd name="T87" fmla="*/ 163 h 299"/>
                <a:gd name="T88" fmla="*/ 173 w 426"/>
                <a:gd name="T89" fmla="*/ 168 h 299"/>
                <a:gd name="T90" fmla="*/ 160 w 426"/>
                <a:gd name="T91" fmla="*/ 176 h 299"/>
                <a:gd name="T92" fmla="*/ 141 w 426"/>
                <a:gd name="T93" fmla="*/ 191 h 299"/>
                <a:gd name="T94" fmla="*/ 118 w 426"/>
                <a:gd name="T95" fmla="*/ 215 h 299"/>
                <a:gd name="T96" fmla="*/ 105 w 426"/>
                <a:gd name="T97" fmla="*/ 218 h 299"/>
                <a:gd name="T98" fmla="*/ 100 w 426"/>
                <a:gd name="T99" fmla="*/ 201 h 299"/>
                <a:gd name="T100" fmla="*/ 90 w 426"/>
                <a:gd name="T101" fmla="*/ 186 h 299"/>
                <a:gd name="T102" fmla="*/ 76 w 426"/>
                <a:gd name="T103" fmla="*/ 171 h 299"/>
                <a:gd name="T104" fmla="*/ 50 w 426"/>
                <a:gd name="T105" fmla="*/ 153 h 299"/>
                <a:gd name="T106" fmla="*/ 24 w 426"/>
                <a:gd name="T107" fmla="*/ 134 h 299"/>
                <a:gd name="T108" fmla="*/ 8 w 426"/>
                <a:gd name="T109" fmla="*/ 119 h 299"/>
                <a:gd name="T110" fmla="*/ 15 w 426"/>
                <a:gd name="T111" fmla="*/ 101 h 299"/>
                <a:gd name="T112" fmla="*/ 46 w 426"/>
                <a:gd name="T113" fmla="*/ 77 h 299"/>
                <a:gd name="T114" fmla="*/ 75 w 426"/>
                <a:gd name="T115" fmla="*/ 48 h 299"/>
                <a:gd name="T116" fmla="*/ 98 w 426"/>
                <a:gd name="T117" fmla="*/ 17 h 299"/>
                <a:gd name="T118" fmla="*/ 179 w 426"/>
                <a:gd name="T119" fmla="*/ 13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5" name="Freeform 464">
              <a:extLst>
                <a:ext uri="{FF2B5EF4-FFF2-40B4-BE49-F238E27FC236}">
                  <a16:creationId xmlns="" xmlns:a16="http://schemas.microsoft.com/office/drawing/2014/main" id="{BA488160-C6FD-D74B-A5FF-E561E3CB3759}"/>
                </a:ext>
              </a:extLst>
            </p:cNvPr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676900" y="2530475"/>
              <a:ext cx="692150" cy="874713"/>
            </a:xfrm>
            <a:custGeom>
              <a:avLst/>
              <a:gdLst>
                <a:gd name="T0" fmla="*/ 477 w 1594"/>
                <a:gd name="T1" fmla="*/ 107 h 1670"/>
                <a:gd name="T2" fmla="*/ 485 w 1594"/>
                <a:gd name="T3" fmla="*/ 185 h 1670"/>
                <a:gd name="T4" fmla="*/ 578 w 1594"/>
                <a:gd name="T5" fmla="*/ 287 h 1670"/>
                <a:gd name="T6" fmla="*/ 701 w 1594"/>
                <a:gd name="T7" fmla="*/ 459 h 1670"/>
                <a:gd name="T8" fmla="*/ 795 w 1594"/>
                <a:gd name="T9" fmla="*/ 499 h 1670"/>
                <a:gd name="T10" fmla="*/ 877 w 1594"/>
                <a:gd name="T11" fmla="*/ 493 h 1670"/>
                <a:gd name="T12" fmla="*/ 930 w 1594"/>
                <a:gd name="T13" fmla="*/ 537 h 1670"/>
                <a:gd name="T14" fmla="*/ 1102 w 1594"/>
                <a:gd name="T15" fmla="*/ 567 h 1670"/>
                <a:gd name="T16" fmla="*/ 1121 w 1594"/>
                <a:gd name="T17" fmla="*/ 461 h 1670"/>
                <a:gd name="T18" fmla="*/ 1179 w 1594"/>
                <a:gd name="T19" fmla="*/ 539 h 1670"/>
                <a:gd name="T20" fmla="*/ 1243 w 1594"/>
                <a:gd name="T21" fmla="*/ 561 h 1670"/>
                <a:gd name="T22" fmla="*/ 1299 w 1594"/>
                <a:gd name="T23" fmla="*/ 498 h 1670"/>
                <a:gd name="T24" fmla="*/ 1404 w 1594"/>
                <a:gd name="T25" fmla="*/ 409 h 1670"/>
                <a:gd name="T26" fmla="*/ 1549 w 1594"/>
                <a:gd name="T27" fmla="*/ 428 h 1670"/>
                <a:gd name="T28" fmla="*/ 1579 w 1594"/>
                <a:gd name="T29" fmla="*/ 498 h 1670"/>
                <a:gd name="T30" fmla="*/ 1504 w 1594"/>
                <a:gd name="T31" fmla="*/ 542 h 1670"/>
                <a:gd name="T32" fmla="*/ 1485 w 1594"/>
                <a:gd name="T33" fmla="*/ 679 h 1670"/>
                <a:gd name="T34" fmla="*/ 1429 w 1594"/>
                <a:gd name="T35" fmla="*/ 704 h 1670"/>
                <a:gd name="T36" fmla="*/ 1408 w 1594"/>
                <a:gd name="T37" fmla="*/ 814 h 1670"/>
                <a:gd name="T38" fmla="*/ 1321 w 1594"/>
                <a:gd name="T39" fmla="*/ 754 h 1670"/>
                <a:gd name="T40" fmla="*/ 1323 w 1594"/>
                <a:gd name="T41" fmla="*/ 698 h 1670"/>
                <a:gd name="T42" fmla="*/ 1225 w 1594"/>
                <a:gd name="T43" fmla="*/ 638 h 1670"/>
                <a:gd name="T44" fmla="*/ 1187 w 1594"/>
                <a:gd name="T45" fmla="*/ 588 h 1670"/>
                <a:gd name="T46" fmla="*/ 1131 w 1594"/>
                <a:gd name="T47" fmla="*/ 575 h 1670"/>
                <a:gd name="T48" fmla="*/ 1127 w 1594"/>
                <a:gd name="T49" fmla="*/ 625 h 1670"/>
                <a:gd name="T50" fmla="*/ 1117 w 1594"/>
                <a:gd name="T51" fmla="*/ 683 h 1670"/>
                <a:gd name="T52" fmla="*/ 1160 w 1594"/>
                <a:gd name="T53" fmla="*/ 735 h 1670"/>
                <a:gd name="T54" fmla="*/ 1149 w 1594"/>
                <a:gd name="T55" fmla="*/ 843 h 1670"/>
                <a:gd name="T56" fmla="*/ 1075 w 1594"/>
                <a:gd name="T57" fmla="*/ 864 h 1670"/>
                <a:gd name="T58" fmla="*/ 1049 w 1594"/>
                <a:gd name="T59" fmla="*/ 937 h 1670"/>
                <a:gd name="T60" fmla="*/ 954 w 1594"/>
                <a:gd name="T61" fmla="*/ 1001 h 1670"/>
                <a:gd name="T62" fmla="*/ 912 w 1594"/>
                <a:gd name="T63" fmla="*/ 1050 h 1670"/>
                <a:gd name="T64" fmla="*/ 780 w 1594"/>
                <a:gd name="T65" fmla="*/ 1188 h 1670"/>
                <a:gd name="T66" fmla="*/ 723 w 1594"/>
                <a:gd name="T67" fmla="*/ 1233 h 1670"/>
                <a:gd name="T68" fmla="*/ 744 w 1594"/>
                <a:gd name="T69" fmla="*/ 1344 h 1670"/>
                <a:gd name="T70" fmla="*/ 712 w 1594"/>
                <a:gd name="T71" fmla="*/ 1445 h 1670"/>
                <a:gd name="T72" fmla="*/ 722 w 1594"/>
                <a:gd name="T73" fmla="*/ 1524 h 1670"/>
                <a:gd name="T74" fmla="*/ 693 w 1594"/>
                <a:gd name="T75" fmla="*/ 1576 h 1670"/>
                <a:gd name="T76" fmla="*/ 595 w 1594"/>
                <a:gd name="T77" fmla="*/ 1663 h 1670"/>
                <a:gd name="T78" fmla="*/ 516 w 1594"/>
                <a:gd name="T79" fmla="*/ 1529 h 1670"/>
                <a:gd name="T80" fmla="*/ 419 w 1594"/>
                <a:gd name="T81" fmla="*/ 1334 h 1670"/>
                <a:gd name="T82" fmla="*/ 301 w 1594"/>
                <a:gd name="T83" fmla="*/ 1114 h 1670"/>
                <a:gd name="T84" fmla="*/ 259 w 1594"/>
                <a:gd name="T85" fmla="*/ 861 h 1670"/>
                <a:gd name="T86" fmla="*/ 230 w 1594"/>
                <a:gd name="T87" fmla="*/ 814 h 1670"/>
                <a:gd name="T88" fmla="*/ 164 w 1594"/>
                <a:gd name="T89" fmla="*/ 900 h 1670"/>
                <a:gd name="T90" fmla="*/ 90 w 1594"/>
                <a:gd name="T91" fmla="*/ 876 h 1670"/>
                <a:gd name="T92" fmla="*/ 51 w 1594"/>
                <a:gd name="T93" fmla="*/ 798 h 1670"/>
                <a:gd name="T94" fmla="*/ 30 w 1594"/>
                <a:gd name="T95" fmla="*/ 771 h 1670"/>
                <a:gd name="T96" fmla="*/ 32 w 1594"/>
                <a:gd name="T97" fmla="*/ 708 h 1670"/>
                <a:gd name="T98" fmla="*/ 159 w 1594"/>
                <a:gd name="T99" fmla="*/ 659 h 1670"/>
                <a:gd name="T100" fmla="*/ 92 w 1594"/>
                <a:gd name="T101" fmla="*/ 569 h 1670"/>
                <a:gd name="T102" fmla="*/ 59 w 1594"/>
                <a:gd name="T103" fmla="*/ 500 h 1670"/>
                <a:gd name="T104" fmla="*/ 162 w 1594"/>
                <a:gd name="T105" fmla="*/ 459 h 1670"/>
                <a:gd name="T106" fmla="*/ 270 w 1594"/>
                <a:gd name="T107" fmla="*/ 294 h 1670"/>
                <a:gd name="T108" fmla="*/ 274 w 1594"/>
                <a:gd name="T109" fmla="*/ 230 h 1670"/>
                <a:gd name="T110" fmla="*/ 227 w 1594"/>
                <a:gd name="T111" fmla="*/ 142 h 1670"/>
                <a:gd name="T112" fmla="*/ 322 w 1594"/>
                <a:gd name="T113" fmla="*/ 54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6" name="Freeform 465">
              <a:extLst>
                <a:ext uri="{FF2B5EF4-FFF2-40B4-BE49-F238E27FC236}">
                  <a16:creationId xmlns="" xmlns:a16="http://schemas.microsoft.com/office/drawing/2014/main" id="{941A5181-ACDC-8048-B4C6-AB1943504F57}"/>
                </a:ext>
              </a:extLst>
            </p:cNvPr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798888" y="3325813"/>
              <a:ext cx="158750" cy="206375"/>
            </a:xfrm>
            <a:custGeom>
              <a:avLst/>
              <a:gdLst>
                <a:gd name="T0" fmla="*/ 53 w 359"/>
                <a:gd name="T1" fmla="*/ 382 h 394"/>
                <a:gd name="T2" fmla="*/ 53 w 359"/>
                <a:gd name="T3" fmla="*/ 358 h 394"/>
                <a:gd name="T4" fmla="*/ 53 w 359"/>
                <a:gd name="T5" fmla="*/ 333 h 394"/>
                <a:gd name="T6" fmla="*/ 50 w 359"/>
                <a:gd name="T7" fmla="*/ 312 h 394"/>
                <a:gd name="T8" fmla="*/ 43 w 359"/>
                <a:gd name="T9" fmla="*/ 293 h 394"/>
                <a:gd name="T10" fmla="*/ 35 w 359"/>
                <a:gd name="T11" fmla="*/ 277 h 394"/>
                <a:gd name="T12" fmla="*/ 13 w 359"/>
                <a:gd name="T13" fmla="*/ 245 h 394"/>
                <a:gd name="T14" fmla="*/ 0 w 359"/>
                <a:gd name="T15" fmla="*/ 185 h 394"/>
                <a:gd name="T16" fmla="*/ 33 w 359"/>
                <a:gd name="T17" fmla="*/ 181 h 394"/>
                <a:gd name="T18" fmla="*/ 40 w 359"/>
                <a:gd name="T19" fmla="*/ 169 h 394"/>
                <a:gd name="T20" fmla="*/ 41 w 359"/>
                <a:gd name="T21" fmla="*/ 150 h 394"/>
                <a:gd name="T22" fmla="*/ 38 w 359"/>
                <a:gd name="T23" fmla="*/ 107 h 394"/>
                <a:gd name="T24" fmla="*/ 31 w 359"/>
                <a:gd name="T25" fmla="*/ 65 h 394"/>
                <a:gd name="T26" fmla="*/ 32 w 359"/>
                <a:gd name="T27" fmla="*/ 47 h 394"/>
                <a:gd name="T28" fmla="*/ 36 w 359"/>
                <a:gd name="T29" fmla="*/ 36 h 394"/>
                <a:gd name="T30" fmla="*/ 120 w 359"/>
                <a:gd name="T31" fmla="*/ 31 h 394"/>
                <a:gd name="T32" fmla="*/ 122 w 359"/>
                <a:gd name="T33" fmla="*/ 22 h 394"/>
                <a:gd name="T34" fmla="*/ 128 w 359"/>
                <a:gd name="T35" fmla="*/ 14 h 394"/>
                <a:gd name="T36" fmla="*/ 140 w 359"/>
                <a:gd name="T37" fmla="*/ 0 h 394"/>
                <a:gd name="T38" fmla="*/ 142 w 359"/>
                <a:gd name="T39" fmla="*/ 18 h 394"/>
                <a:gd name="T40" fmla="*/ 142 w 359"/>
                <a:gd name="T41" fmla="*/ 26 h 394"/>
                <a:gd name="T42" fmla="*/ 140 w 359"/>
                <a:gd name="T43" fmla="*/ 31 h 394"/>
                <a:gd name="T44" fmla="*/ 168 w 359"/>
                <a:gd name="T45" fmla="*/ 31 h 394"/>
                <a:gd name="T46" fmla="*/ 186 w 359"/>
                <a:gd name="T47" fmla="*/ 31 h 394"/>
                <a:gd name="T48" fmla="*/ 214 w 359"/>
                <a:gd name="T49" fmla="*/ 38 h 394"/>
                <a:gd name="T50" fmla="*/ 233 w 359"/>
                <a:gd name="T51" fmla="*/ 49 h 394"/>
                <a:gd name="T52" fmla="*/ 246 w 359"/>
                <a:gd name="T53" fmla="*/ 58 h 394"/>
                <a:gd name="T54" fmla="*/ 259 w 359"/>
                <a:gd name="T55" fmla="*/ 61 h 394"/>
                <a:gd name="T56" fmla="*/ 268 w 359"/>
                <a:gd name="T57" fmla="*/ 59 h 394"/>
                <a:gd name="T58" fmla="*/ 275 w 359"/>
                <a:gd name="T59" fmla="*/ 54 h 394"/>
                <a:gd name="T60" fmla="*/ 286 w 359"/>
                <a:gd name="T61" fmla="*/ 37 h 394"/>
                <a:gd name="T62" fmla="*/ 312 w 359"/>
                <a:gd name="T63" fmla="*/ 52 h 394"/>
                <a:gd name="T64" fmla="*/ 325 w 359"/>
                <a:gd name="T65" fmla="*/ 59 h 394"/>
                <a:gd name="T66" fmla="*/ 338 w 359"/>
                <a:gd name="T67" fmla="*/ 61 h 394"/>
                <a:gd name="T68" fmla="*/ 353 w 359"/>
                <a:gd name="T69" fmla="*/ 161 h 394"/>
                <a:gd name="T70" fmla="*/ 338 w 359"/>
                <a:gd name="T71" fmla="*/ 185 h 394"/>
                <a:gd name="T72" fmla="*/ 323 w 359"/>
                <a:gd name="T73" fmla="*/ 206 h 394"/>
                <a:gd name="T74" fmla="*/ 315 w 359"/>
                <a:gd name="T75" fmla="*/ 224 h 394"/>
                <a:gd name="T76" fmla="*/ 313 w 359"/>
                <a:gd name="T77" fmla="*/ 239 h 394"/>
                <a:gd name="T78" fmla="*/ 313 w 359"/>
                <a:gd name="T79" fmla="*/ 255 h 394"/>
                <a:gd name="T80" fmla="*/ 321 w 359"/>
                <a:gd name="T81" fmla="*/ 273 h 394"/>
                <a:gd name="T82" fmla="*/ 331 w 359"/>
                <a:gd name="T83" fmla="*/ 293 h 394"/>
                <a:gd name="T84" fmla="*/ 337 w 359"/>
                <a:gd name="T85" fmla="*/ 309 h 394"/>
                <a:gd name="T86" fmla="*/ 337 w 359"/>
                <a:gd name="T87" fmla="*/ 321 h 394"/>
                <a:gd name="T88" fmla="*/ 330 w 359"/>
                <a:gd name="T89" fmla="*/ 337 h 394"/>
                <a:gd name="T90" fmla="*/ 326 w 359"/>
                <a:gd name="T91" fmla="*/ 351 h 394"/>
                <a:gd name="T92" fmla="*/ 319 w 359"/>
                <a:gd name="T93" fmla="*/ 358 h 394"/>
                <a:gd name="T94" fmla="*/ 308 w 359"/>
                <a:gd name="T95" fmla="*/ 356 h 394"/>
                <a:gd name="T96" fmla="*/ 298 w 359"/>
                <a:gd name="T97" fmla="*/ 350 h 394"/>
                <a:gd name="T98" fmla="*/ 287 w 359"/>
                <a:gd name="T99" fmla="*/ 340 h 394"/>
                <a:gd name="T100" fmla="*/ 277 w 359"/>
                <a:gd name="T101" fmla="*/ 335 h 394"/>
                <a:gd name="T102" fmla="*/ 266 w 359"/>
                <a:gd name="T103" fmla="*/ 333 h 394"/>
                <a:gd name="T104" fmla="*/ 246 w 359"/>
                <a:gd name="T105" fmla="*/ 333 h 394"/>
                <a:gd name="T106" fmla="*/ 221 w 359"/>
                <a:gd name="T107" fmla="*/ 336 h 394"/>
                <a:gd name="T108" fmla="*/ 181 w 359"/>
                <a:gd name="T109" fmla="*/ 343 h 394"/>
                <a:gd name="T110" fmla="*/ 131 w 359"/>
                <a:gd name="T111" fmla="*/ 359 h 394"/>
                <a:gd name="T112" fmla="*/ 86 w 359"/>
                <a:gd name="T113" fmla="*/ 375 h 394"/>
                <a:gd name="T114" fmla="*/ 53 w 359"/>
                <a:gd name="T115" fmla="*/ 394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7" name="Freeform 466">
              <a:extLst>
                <a:ext uri="{FF2B5EF4-FFF2-40B4-BE49-F238E27FC236}">
                  <a16:creationId xmlns="" xmlns:a16="http://schemas.microsoft.com/office/drawing/2014/main" id="{3C55C34D-2176-D746-866A-283EC0A685CE}"/>
                </a:ext>
              </a:extLst>
            </p:cNvPr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867275" y="3521075"/>
              <a:ext cx="192088" cy="271463"/>
            </a:xfrm>
            <a:custGeom>
              <a:avLst/>
              <a:gdLst>
                <a:gd name="T0" fmla="*/ 410 w 449"/>
                <a:gd name="T1" fmla="*/ 105 h 523"/>
                <a:gd name="T2" fmla="*/ 405 w 449"/>
                <a:gd name="T3" fmla="*/ 98 h 523"/>
                <a:gd name="T4" fmla="*/ 408 w 449"/>
                <a:gd name="T5" fmla="*/ 92 h 523"/>
                <a:gd name="T6" fmla="*/ 422 w 449"/>
                <a:gd name="T7" fmla="*/ 77 h 523"/>
                <a:gd name="T8" fmla="*/ 441 w 449"/>
                <a:gd name="T9" fmla="*/ 60 h 523"/>
                <a:gd name="T10" fmla="*/ 447 w 449"/>
                <a:gd name="T11" fmla="*/ 50 h 523"/>
                <a:gd name="T12" fmla="*/ 449 w 449"/>
                <a:gd name="T13" fmla="*/ 37 h 523"/>
                <a:gd name="T14" fmla="*/ 432 w 449"/>
                <a:gd name="T15" fmla="*/ 34 h 523"/>
                <a:gd name="T16" fmla="*/ 422 w 449"/>
                <a:gd name="T17" fmla="*/ 27 h 523"/>
                <a:gd name="T18" fmla="*/ 411 w 449"/>
                <a:gd name="T19" fmla="*/ 21 h 523"/>
                <a:gd name="T20" fmla="*/ 390 w 449"/>
                <a:gd name="T21" fmla="*/ 18 h 523"/>
                <a:gd name="T22" fmla="*/ 377 w 449"/>
                <a:gd name="T23" fmla="*/ 20 h 523"/>
                <a:gd name="T24" fmla="*/ 368 w 449"/>
                <a:gd name="T25" fmla="*/ 24 h 523"/>
                <a:gd name="T26" fmla="*/ 355 w 449"/>
                <a:gd name="T27" fmla="*/ 37 h 523"/>
                <a:gd name="T28" fmla="*/ 340 w 449"/>
                <a:gd name="T29" fmla="*/ 50 h 523"/>
                <a:gd name="T30" fmla="*/ 326 w 449"/>
                <a:gd name="T31" fmla="*/ 54 h 523"/>
                <a:gd name="T32" fmla="*/ 310 w 449"/>
                <a:gd name="T33" fmla="*/ 55 h 523"/>
                <a:gd name="T34" fmla="*/ 287 w 449"/>
                <a:gd name="T35" fmla="*/ 54 h 523"/>
                <a:gd name="T36" fmla="*/ 267 w 449"/>
                <a:gd name="T37" fmla="*/ 50 h 523"/>
                <a:gd name="T38" fmla="*/ 235 w 449"/>
                <a:gd name="T39" fmla="*/ 36 h 523"/>
                <a:gd name="T40" fmla="*/ 206 w 449"/>
                <a:gd name="T41" fmla="*/ 19 h 523"/>
                <a:gd name="T42" fmla="*/ 189 w 449"/>
                <a:gd name="T43" fmla="*/ 12 h 523"/>
                <a:gd name="T44" fmla="*/ 170 w 449"/>
                <a:gd name="T45" fmla="*/ 6 h 523"/>
                <a:gd name="T46" fmla="*/ 134 w 449"/>
                <a:gd name="T47" fmla="*/ 8 h 523"/>
                <a:gd name="T48" fmla="*/ 119 w 449"/>
                <a:gd name="T49" fmla="*/ 6 h 523"/>
                <a:gd name="T50" fmla="*/ 103 w 449"/>
                <a:gd name="T51" fmla="*/ 0 h 523"/>
                <a:gd name="T52" fmla="*/ 52 w 449"/>
                <a:gd name="T53" fmla="*/ 0 h 523"/>
                <a:gd name="T54" fmla="*/ 5 w 449"/>
                <a:gd name="T55" fmla="*/ 0 h 523"/>
                <a:gd name="T56" fmla="*/ 5 w 449"/>
                <a:gd name="T57" fmla="*/ 18 h 523"/>
                <a:gd name="T58" fmla="*/ 5 w 449"/>
                <a:gd name="T59" fmla="*/ 37 h 523"/>
                <a:gd name="T60" fmla="*/ 15 w 449"/>
                <a:gd name="T61" fmla="*/ 60 h 523"/>
                <a:gd name="T62" fmla="*/ 23 w 449"/>
                <a:gd name="T63" fmla="*/ 91 h 523"/>
                <a:gd name="T64" fmla="*/ 31 w 449"/>
                <a:gd name="T65" fmla="*/ 128 h 523"/>
                <a:gd name="T66" fmla="*/ 38 w 449"/>
                <a:gd name="T67" fmla="*/ 172 h 523"/>
                <a:gd name="T68" fmla="*/ 37 w 449"/>
                <a:gd name="T69" fmla="*/ 206 h 523"/>
                <a:gd name="T70" fmla="*/ 29 w 449"/>
                <a:gd name="T71" fmla="*/ 230 h 523"/>
                <a:gd name="T72" fmla="*/ 7 w 449"/>
                <a:gd name="T73" fmla="*/ 269 h 523"/>
                <a:gd name="T74" fmla="*/ 10 w 449"/>
                <a:gd name="T75" fmla="*/ 321 h 523"/>
                <a:gd name="T76" fmla="*/ 28 w 449"/>
                <a:gd name="T77" fmla="*/ 339 h 523"/>
                <a:gd name="T78" fmla="*/ 84 w 449"/>
                <a:gd name="T79" fmla="*/ 367 h 523"/>
                <a:gd name="T80" fmla="*/ 136 w 449"/>
                <a:gd name="T81" fmla="*/ 396 h 523"/>
                <a:gd name="T82" fmla="*/ 170 w 449"/>
                <a:gd name="T83" fmla="*/ 420 h 523"/>
                <a:gd name="T84" fmla="*/ 189 w 449"/>
                <a:gd name="T85" fmla="*/ 436 h 523"/>
                <a:gd name="T86" fmla="*/ 198 w 449"/>
                <a:gd name="T87" fmla="*/ 451 h 523"/>
                <a:gd name="T88" fmla="*/ 201 w 449"/>
                <a:gd name="T89" fmla="*/ 464 h 523"/>
                <a:gd name="T90" fmla="*/ 209 w 449"/>
                <a:gd name="T91" fmla="*/ 479 h 523"/>
                <a:gd name="T92" fmla="*/ 220 w 449"/>
                <a:gd name="T93" fmla="*/ 492 h 523"/>
                <a:gd name="T94" fmla="*/ 233 w 449"/>
                <a:gd name="T95" fmla="*/ 503 h 523"/>
                <a:gd name="T96" fmla="*/ 247 w 449"/>
                <a:gd name="T97" fmla="*/ 512 h 523"/>
                <a:gd name="T98" fmla="*/ 264 w 449"/>
                <a:gd name="T99" fmla="*/ 519 h 523"/>
                <a:gd name="T100" fmla="*/ 281 w 449"/>
                <a:gd name="T101" fmla="*/ 523 h 523"/>
                <a:gd name="T102" fmla="*/ 304 w 449"/>
                <a:gd name="T103" fmla="*/ 502 h 523"/>
                <a:gd name="T104" fmla="*/ 335 w 449"/>
                <a:gd name="T105" fmla="*/ 462 h 523"/>
                <a:gd name="T106" fmla="*/ 365 w 449"/>
                <a:gd name="T107" fmla="*/ 427 h 523"/>
                <a:gd name="T108" fmla="*/ 394 w 449"/>
                <a:gd name="T109" fmla="*/ 390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8" name="Freeform 467">
              <a:extLst>
                <a:ext uri="{FF2B5EF4-FFF2-40B4-BE49-F238E27FC236}">
                  <a16:creationId xmlns="" xmlns:a16="http://schemas.microsoft.com/office/drawing/2014/main" id="{C23A0D8D-9E6A-0940-A879-BA87F6BEC3BB}"/>
                </a:ext>
              </a:extLst>
            </p:cNvPr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849813" y="2606675"/>
              <a:ext cx="101600" cy="130175"/>
            </a:xfrm>
            <a:custGeom>
              <a:avLst/>
              <a:gdLst>
                <a:gd name="T0" fmla="*/ 12 w 226"/>
                <a:gd name="T1" fmla="*/ 228 h 246"/>
                <a:gd name="T2" fmla="*/ 36 w 226"/>
                <a:gd name="T3" fmla="*/ 240 h 246"/>
                <a:gd name="T4" fmla="*/ 53 w 226"/>
                <a:gd name="T5" fmla="*/ 245 h 246"/>
                <a:gd name="T6" fmla="*/ 68 w 226"/>
                <a:gd name="T7" fmla="*/ 245 h 246"/>
                <a:gd name="T8" fmla="*/ 85 w 226"/>
                <a:gd name="T9" fmla="*/ 241 h 246"/>
                <a:gd name="T10" fmla="*/ 110 w 226"/>
                <a:gd name="T11" fmla="*/ 228 h 246"/>
                <a:gd name="T12" fmla="*/ 141 w 226"/>
                <a:gd name="T13" fmla="*/ 205 h 246"/>
                <a:gd name="T14" fmla="*/ 161 w 226"/>
                <a:gd name="T15" fmla="*/ 184 h 246"/>
                <a:gd name="T16" fmla="*/ 159 w 226"/>
                <a:gd name="T17" fmla="*/ 173 h 246"/>
                <a:gd name="T18" fmla="*/ 149 w 226"/>
                <a:gd name="T19" fmla="*/ 160 h 246"/>
                <a:gd name="T20" fmla="*/ 143 w 226"/>
                <a:gd name="T21" fmla="*/ 145 h 246"/>
                <a:gd name="T22" fmla="*/ 141 w 226"/>
                <a:gd name="T23" fmla="*/ 130 h 246"/>
                <a:gd name="T24" fmla="*/ 141 w 226"/>
                <a:gd name="T25" fmla="*/ 116 h 246"/>
                <a:gd name="T26" fmla="*/ 146 w 226"/>
                <a:gd name="T27" fmla="*/ 105 h 246"/>
                <a:gd name="T28" fmla="*/ 156 w 226"/>
                <a:gd name="T29" fmla="*/ 94 h 246"/>
                <a:gd name="T30" fmla="*/ 168 w 226"/>
                <a:gd name="T31" fmla="*/ 86 h 246"/>
                <a:gd name="T32" fmla="*/ 204 w 226"/>
                <a:gd name="T33" fmla="*/ 71 h 246"/>
                <a:gd name="T34" fmla="*/ 225 w 226"/>
                <a:gd name="T35" fmla="*/ 49 h 246"/>
                <a:gd name="T36" fmla="*/ 221 w 226"/>
                <a:gd name="T37" fmla="*/ 30 h 246"/>
                <a:gd name="T38" fmla="*/ 214 w 226"/>
                <a:gd name="T39" fmla="*/ 17 h 246"/>
                <a:gd name="T40" fmla="*/ 212 w 226"/>
                <a:gd name="T41" fmla="*/ 6 h 246"/>
                <a:gd name="T42" fmla="*/ 202 w 226"/>
                <a:gd name="T43" fmla="*/ 1 h 246"/>
                <a:gd name="T44" fmla="*/ 181 w 226"/>
                <a:gd name="T45" fmla="*/ 7 h 246"/>
                <a:gd name="T46" fmla="*/ 154 w 226"/>
                <a:gd name="T47" fmla="*/ 20 h 246"/>
                <a:gd name="T48" fmla="*/ 121 w 226"/>
                <a:gd name="T49" fmla="*/ 38 h 246"/>
                <a:gd name="T50" fmla="*/ 100 w 226"/>
                <a:gd name="T51" fmla="*/ 51 h 246"/>
                <a:gd name="T52" fmla="*/ 87 w 226"/>
                <a:gd name="T53" fmla="*/ 55 h 246"/>
                <a:gd name="T54" fmla="*/ 75 w 226"/>
                <a:gd name="T55" fmla="*/ 54 h 246"/>
                <a:gd name="T56" fmla="*/ 59 w 226"/>
                <a:gd name="T57" fmla="*/ 47 h 246"/>
                <a:gd name="T58" fmla="*/ 36 w 226"/>
                <a:gd name="T59" fmla="*/ 31 h 246"/>
                <a:gd name="T60" fmla="*/ 24 w 226"/>
                <a:gd name="T61" fmla="*/ 39 h 246"/>
                <a:gd name="T62" fmla="*/ 18 w 226"/>
                <a:gd name="T63" fmla="*/ 95 h 246"/>
                <a:gd name="T64" fmla="*/ 10 w 226"/>
                <a:gd name="T65" fmla="*/ 163 h 246"/>
                <a:gd name="T66" fmla="*/ 3 w 226"/>
                <a:gd name="T67" fmla="*/ 212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89" name="Freeform 468">
              <a:extLst>
                <a:ext uri="{FF2B5EF4-FFF2-40B4-BE49-F238E27FC236}">
                  <a16:creationId xmlns="" xmlns:a16="http://schemas.microsoft.com/office/drawing/2014/main" id="{05744503-B5C3-F64D-A52B-AE80F88BF5B3}"/>
                </a:ext>
              </a:extLst>
            </p:cNvPr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5148263" y="2709863"/>
              <a:ext cx="22225" cy="55562"/>
            </a:xfrm>
            <a:custGeom>
              <a:avLst/>
              <a:gdLst>
                <a:gd name="T0" fmla="*/ 27 w 60"/>
                <a:gd name="T1" fmla="*/ 0 h 81"/>
                <a:gd name="T2" fmla="*/ 29 w 60"/>
                <a:gd name="T3" fmla="*/ 2 h 81"/>
                <a:gd name="T4" fmla="*/ 32 w 60"/>
                <a:gd name="T5" fmla="*/ 3 h 81"/>
                <a:gd name="T6" fmla="*/ 36 w 60"/>
                <a:gd name="T7" fmla="*/ 3 h 81"/>
                <a:gd name="T8" fmla="*/ 40 w 60"/>
                <a:gd name="T9" fmla="*/ 2 h 81"/>
                <a:gd name="T10" fmla="*/ 47 w 60"/>
                <a:gd name="T11" fmla="*/ 1 h 81"/>
                <a:gd name="T12" fmla="*/ 53 w 60"/>
                <a:gd name="T13" fmla="*/ 0 h 81"/>
                <a:gd name="T14" fmla="*/ 53 w 60"/>
                <a:gd name="T15" fmla="*/ 26 h 81"/>
                <a:gd name="T16" fmla="*/ 54 w 60"/>
                <a:gd name="T17" fmla="*/ 47 h 81"/>
                <a:gd name="T18" fmla="*/ 54 w 60"/>
                <a:gd name="T19" fmla="*/ 57 h 81"/>
                <a:gd name="T20" fmla="*/ 56 w 60"/>
                <a:gd name="T21" fmla="*/ 65 h 81"/>
                <a:gd name="T22" fmla="*/ 58 w 60"/>
                <a:gd name="T23" fmla="*/ 73 h 81"/>
                <a:gd name="T24" fmla="*/ 60 w 60"/>
                <a:gd name="T25" fmla="*/ 81 h 81"/>
                <a:gd name="T26" fmla="*/ 20 w 60"/>
                <a:gd name="T27" fmla="*/ 81 h 81"/>
                <a:gd name="T28" fmla="*/ 14 w 60"/>
                <a:gd name="T29" fmla="*/ 80 h 81"/>
                <a:gd name="T30" fmla="*/ 7 w 60"/>
                <a:gd name="T31" fmla="*/ 77 h 81"/>
                <a:gd name="T32" fmla="*/ 5 w 60"/>
                <a:gd name="T33" fmla="*/ 74 h 81"/>
                <a:gd name="T34" fmla="*/ 2 w 60"/>
                <a:gd name="T35" fmla="*/ 72 h 81"/>
                <a:gd name="T36" fmla="*/ 1 w 60"/>
                <a:gd name="T37" fmla="*/ 70 h 81"/>
                <a:gd name="T38" fmla="*/ 0 w 60"/>
                <a:gd name="T39" fmla="*/ 68 h 81"/>
                <a:gd name="T40" fmla="*/ 7 w 60"/>
                <a:gd name="T41" fmla="*/ 12 h 81"/>
                <a:gd name="T42" fmla="*/ 20 w 60"/>
                <a:gd name="T43" fmla="*/ 6 h 81"/>
                <a:gd name="T44" fmla="*/ 34 w 60"/>
                <a:gd name="T45" fmla="*/ 0 h 81"/>
                <a:gd name="T46" fmla="*/ 2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0" name="Freeform 469">
              <a:extLst>
                <a:ext uri="{FF2B5EF4-FFF2-40B4-BE49-F238E27FC236}">
                  <a16:creationId xmlns="" xmlns:a16="http://schemas.microsoft.com/office/drawing/2014/main" id="{81DC8D39-3602-334A-BFC5-6254919AFC15}"/>
                </a:ext>
              </a:extLst>
            </p:cNvPr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435475" y="1844675"/>
              <a:ext cx="161925" cy="66675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1" name="Freeform 470">
              <a:extLst>
                <a:ext uri="{FF2B5EF4-FFF2-40B4-BE49-F238E27FC236}">
                  <a16:creationId xmlns="" xmlns:a16="http://schemas.microsoft.com/office/drawing/2014/main" id="{6CE30307-00BA-D549-AD65-0B1C080C5DB7}"/>
                </a:ext>
              </a:extLst>
            </p:cNvPr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846638" y="2565400"/>
              <a:ext cx="30162" cy="57150"/>
            </a:xfrm>
            <a:custGeom>
              <a:avLst/>
              <a:gdLst>
                <a:gd name="T0" fmla="*/ 27 w 80"/>
                <a:gd name="T1" fmla="*/ 1 h 94"/>
                <a:gd name="T2" fmla="*/ 34 w 80"/>
                <a:gd name="T3" fmla="*/ 0 h 94"/>
                <a:gd name="T4" fmla="*/ 41 w 80"/>
                <a:gd name="T5" fmla="*/ 0 h 94"/>
                <a:gd name="T6" fmla="*/ 47 w 80"/>
                <a:gd name="T7" fmla="*/ 2 h 94"/>
                <a:gd name="T8" fmla="*/ 54 w 80"/>
                <a:gd name="T9" fmla="*/ 4 h 94"/>
                <a:gd name="T10" fmla="*/ 60 w 80"/>
                <a:gd name="T11" fmla="*/ 6 h 94"/>
                <a:gd name="T12" fmla="*/ 66 w 80"/>
                <a:gd name="T13" fmla="*/ 8 h 94"/>
                <a:gd name="T14" fmla="*/ 73 w 80"/>
                <a:gd name="T15" fmla="*/ 8 h 94"/>
                <a:gd name="T16" fmla="*/ 80 w 80"/>
                <a:gd name="T17" fmla="*/ 7 h 94"/>
                <a:gd name="T18" fmla="*/ 80 w 80"/>
                <a:gd name="T19" fmla="*/ 38 h 94"/>
                <a:gd name="T20" fmla="*/ 75 w 80"/>
                <a:gd name="T21" fmla="*/ 44 h 94"/>
                <a:gd name="T22" fmla="*/ 69 w 80"/>
                <a:gd name="T23" fmla="*/ 51 h 94"/>
                <a:gd name="T24" fmla="*/ 64 w 80"/>
                <a:gd name="T25" fmla="*/ 59 h 94"/>
                <a:gd name="T26" fmla="*/ 58 w 80"/>
                <a:gd name="T27" fmla="*/ 68 h 94"/>
                <a:gd name="T28" fmla="*/ 51 w 80"/>
                <a:gd name="T29" fmla="*/ 84 h 94"/>
                <a:gd name="T30" fmla="*/ 47 w 80"/>
                <a:gd name="T31" fmla="*/ 94 h 94"/>
                <a:gd name="T32" fmla="*/ 43 w 80"/>
                <a:gd name="T33" fmla="*/ 93 h 94"/>
                <a:gd name="T34" fmla="*/ 40 w 80"/>
                <a:gd name="T35" fmla="*/ 92 h 94"/>
                <a:gd name="T36" fmla="*/ 37 w 80"/>
                <a:gd name="T37" fmla="*/ 91 h 94"/>
                <a:gd name="T38" fmla="*/ 34 w 80"/>
                <a:gd name="T39" fmla="*/ 89 h 94"/>
                <a:gd name="T40" fmla="*/ 29 w 80"/>
                <a:gd name="T41" fmla="*/ 84 h 94"/>
                <a:gd name="T42" fmla="*/ 23 w 80"/>
                <a:gd name="T43" fmla="*/ 78 h 94"/>
                <a:gd name="T44" fmla="*/ 19 w 80"/>
                <a:gd name="T45" fmla="*/ 72 h 94"/>
                <a:gd name="T46" fmla="*/ 13 w 80"/>
                <a:gd name="T47" fmla="*/ 65 h 94"/>
                <a:gd name="T48" fmla="*/ 7 w 80"/>
                <a:gd name="T49" fmla="*/ 60 h 94"/>
                <a:gd name="T50" fmla="*/ 0 w 80"/>
                <a:gd name="T51" fmla="*/ 56 h 94"/>
                <a:gd name="T52" fmla="*/ 8 w 80"/>
                <a:gd name="T53" fmla="*/ 41 h 94"/>
                <a:gd name="T54" fmla="*/ 13 w 80"/>
                <a:gd name="T55" fmla="*/ 29 h 94"/>
                <a:gd name="T56" fmla="*/ 19 w 80"/>
                <a:gd name="T57" fmla="*/ 17 h 94"/>
                <a:gd name="T58" fmla="*/ 27 w 80"/>
                <a:gd name="T59" fmla="*/ 1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2" name="Freeform 471">
              <a:extLst>
                <a:ext uri="{FF2B5EF4-FFF2-40B4-BE49-F238E27FC236}">
                  <a16:creationId xmlns="" xmlns:a16="http://schemas.microsoft.com/office/drawing/2014/main" id="{134562DE-DC2B-E84E-A4A2-63511C5985F1}"/>
                </a:ext>
              </a:extLst>
            </p:cNvPr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662488" y="4576763"/>
              <a:ext cx="61912" cy="57150"/>
            </a:xfrm>
            <a:custGeom>
              <a:avLst/>
              <a:gdLst>
                <a:gd name="T0" fmla="*/ 3 w 135"/>
                <a:gd name="T1" fmla="*/ 55 h 98"/>
                <a:gd name="T2" fmla="*/ 11 w 135"/>
                <a:gd name="T3" fmla="*/ 54 h 98"/>
                <a:gd name="T4" fmla="*/ 18 w 135"/>
                <a:gd name="T5" fmla="*/ 53 h 98"/>
                <a:gd name="T6" fmla="*/ 24 w 135"/>
                <a:gd name="T7" fmla="*/ 50 h 98"/>
                <a:gd name="T8" fmla="*/ 31 w 135"/>
                <a:gd name="T9" fmla="*/ 47 h 98"/>
                <a:gd name="T10" fmla="*/ 42 w 135"/>
                <a:gd name="T11" fmla="*/ 38 h 98"/>
                <a:gd name="T12" fmla="*/ 52 w 135"/>
                <a:gd name="T13" fmla="*/ 28 h 98"/>
                <a:gd name="T14" fmla="*/ 61 w 135"/>
                <a:gd name="T15" fmla="*/ 18 h 98"/>
                <a:gd name="T16" fmla="*/ 71 w 135"/>
                <a:gd name="T17" fmla="*/ 8 h 98"/>
                <a:gd name="T18" fmla="*/ 76 w 135"/>
                <a:gd name="T19" fmla="*/ 5 h 98"/>
                <a:gd name="T20" fmla="*/ 82 w 135"/>
                <a:gd name="T21" fmla="*/ 2 h 98"/>
                <a:gd name="T22" fmla="*/ 88 w 135"/>
                <a:gd name="T23" fmla="*/ 0 h 98"/>
                <a:gd name="T24" fmla="*/ 96 w 135"/>
                <a:gd name="T25" fmla="*/ 0 h 98"/>
                <a:gd name="T26" fmla="*/ 102 w 135"/>
                <a:gd name="T27" fmla="*/ 0 h 98"/>
                <a:gd name="T28" fmla="*/ 110 w 135"/>
                <a:gd name="T29" fmla="*/ 3 h 98"/>
                <a:gd name="T30" fmla="*/ 117 w 135"/>
                <a:gd name="T31" fmla="*/ 6 h 98"/>
                <a:gd name="T32" fmla="*/ 123 w 135"/>
                <a:gd name="T33" fmla="*/ 11 h 98"/>
                <a:gd name="T34" fmla="*/ 128 w 135"/>
                <a:gd name="T35" fmla="*/ 16 h 98"/>
                <a:gd name="T36" fmla="*/ 132 w 135"/>
                <a:gd name="T37" fmla="*/ 24 h 98"/>
                <a:gd name="T38" fmla="*/ 134 w 135"/>
                <a:gd name="T39" fmla="*/ 30 h 98"/>
                <a:gd name="T40" fmla="*/ 135 w 135"/>
                <a:gd name="T41" fmla="*/ 37 h 98"/>
                <a:gd name="T42" fmla="*/ 134 w 135"/>
                <a:gd name="T43" fmla="*/ 40 h 98"/>
                <a:gd name="T44" fmla="*/ 132 w 135"/>
                <a:gd name="T45" fmla="*/ 43 h 98"/>
                <a:gd name="T46" fmla="*/ 129 w 135"/>
                <a:gd name="T47" fmla="*/ 47 h 98"/>
                <a:gd name="T48" fmla="*/ 124 w 135"/>
                <a:gd name="T49" fmla="*/ 51 h 98"/>
                <a:gd name="T50" fmla="*/ 113 w 135"/>
                <a:gd name="T51" fmla="*/ 61 h 98"/>
                <a:gd name="T52" fmla="*/ 100 w 135"/>
                <a:gd name="T53" fmla="*/ 72 h 98"/>
                <a:gd name="T54" fmla="*/ 87 w 135"/>
                <a:gd name="T55" fmla="*/ 82 h 98"/>
                <a:gd name="T56" fmla="*/ 74 w 135"/>
                <a:gd name="T57" fmla="*/ 91 h 98"/>
                <a:gd name="T58" fmla="*/ 63 w 135"/>
                <a:gd name="T59" fmla="*/ 96 h 98"/>
                <a:gd name="T60" fmla="*/ 55 w 135"/>
                <a:gd name="T61" fmla="*/ 98 h 98"/>
                <a:gd name="T62" fmla="*/ 51 w 135"/>
                <a:gd name="T63" fmla="*/ 97 h 98"/>
                <a:gd name="T64" fmla="*/ 43 w 135"/>
                <a:gd name="T65" fmla="*/ 92 h 98"/>
                <a:gd name="T66" fmla="*/ 32 w 135"/>
                <a:gd name="T67" fmla="*/ 85 h 98"/>
                <a:gd name="T68" fmla="*/ 21 w 135"/>
                <a:gd name="T69" fmla="*/ 77 h 98"/>
                <a:gd name="T70" fmla="*/ 11 w 135"/>
                <a:gd name="T71" fmla="*/ 68 h 98"/>
                <a:gd name="T72" fmla="*/ 5 w 135"/>
                <a:gd name="T73" fmla="*/ 62 h 98"/>
                <a:gd name="T74" fmla="*/ 1 w 135"/>
                <a:gd name="T75" fmla="*/ 59 h 98"/>
                <a:gd name="T76" fmla="*/ 0 w 135"/>
                <a:gd name="T77" fmla="*/ 57 h 98"/>
                <a:gd name="T78" fmla="*/ 0 w 135"/>
                <a:gd name="T79" fmla="*/ 56 h 98"/>
                <a:gd name="T80" fmla="*/ 3 w 135"/>
                <a:gd name="T81" fmla="*/ 55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3" name="Freeform 472">
              <a:extLst>
                <a:ext uri="{FF2B5EF4-FFF2-40B4-BE49-F238E27FC236}">
                  <a16:creationId xmlns="" xmlns:a16="http://schemas.microsoft.com/office/drawing/2014/main" id="{B7B9C469-1546-514F-89A4-E249EADF5207}"/>
                </a:ext>
              </a:extLst>
            </p:cNvPr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4433888" y="1892300"/>
              <a:ext cx="131762" cy="84138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4" name="Freeform 473">
              <a:extLst>
                <a:ext uri="{FF2B5EF4-FFF2-40B4-BE49-F238E27FC236}">
                  <a16:creationId xmlns="" xmlns:a16="http://schemas.microsoft.com/office/drawing/2014/main" id="{955A9CA7-1113-394A-B768-19C97655C52F}"/>
                </a:ext>
              </a:extLst>
            </p:cNvPr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4140200" y="2078038"/>
              <a:ext cx="19050" cy="603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5" name="Freeform 474">
              <a:extLst>
                <a:ext uri="{FF2B5EF4-FFF2-40B4-BE49-F238E27FC236}">
                  <a16:creationId xmlns="" xmlns:a16="http://schemas.microsoft.com/office/drawing/2014/main" id="{015AF60B-9E87-CB4F-85BD-B26E7536F64D}"/>
                </a:ext>
              </a:extLst>
            </p:cNvPr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4837113" y="3962400"/>
              <a:ext cx="69850" cy="241300"/>
            </a:xfrm>
            <a:custGeom>
              <a:avLst/>
              <a:gdLst>
                <a:gd name="T0" fmla="*/ 10 w 166"/>
                <a:gd name="T1" fmla="*/ 282 h 456"/>
                <a:gd name="T2" fmla="*/ 19 w 166"/>
                <a:gd name="T3" fmla="*/ 290 h 456"/>
                <a:gd name="T4" fmla="*/ 37 w 166"/>
                <a:gd name="T5" fmla="*/ 300 h 456"/>
                <a:gd name="T6" fmla="*/ 58 w 166"/>
                <a:gd name="T7" fmla="*/ 306 h 456"/>
                <a:gd name="T8" fmla="*/ 70 w 166"/>
                <a:gd name="T9" fmla="*/ 312 h 456"/>
                <a:gd name="T10" fmla="*/ 80 w 166"/>
                <a:gd name="T11" fmla="*/ 320 h 456"/>
                <a:gd name="T12" fmla="*/ 86 w 166"/>
                <a:gd name="T13" fmla="*/ 331 h 456"/>
                <a:gd name="T14" fmla="*/ 86 w 166"/>
                <a:gd name="T15" fmla="*/ 347 h 456"/>
                <a:gd name="T16" fmla="*/ 78 w 166"/>
                <a:gd name="T17" fmla="*/ 363 h 456"/>
                <a:gd name="T18" fmla="*/ 68 w 166"/>
                <a:gd name="T19" fmla="*/ 375 h 456"/>
                <a:gd name="T20" fmla="*/ 62 w 166"/>
                <a:gd name="T21" fmla="*/ 388 h 456"/>
                <a:gd name="T22" fmla="*/ 60 w 166"/>
                <a:gd name="T23" fmla="*/ 400 h 456"/>
                <a:gd name="T24" fmla="*/ 64 w 166"/>
                <a:gd name="T25" fmla="*/ 411 h 456"/>
                <a:gd name="T26" fmla="*/ 76 w 166"/>
                <a:gd name="T27" fmla="*/ 424 h 456"/>
                <a:gd name="T28" fmla="*/ 104 w 166"/>
                <a:gd name="T29" fmla="*/ 445 h 456"/>
                <a:gd name="T30" fmla="*/ 120 w 166"/>
                <a:gd name="T31" fmla="*/ 443 h 456"/>
                <a:gd name="T32" fmla="*/ 120 w 166"/>
                <a:gd name="T33" fmla="*/ 423 h 456"/>
                <a:gd name="T34" fmla="*/ 131 w 166"/>
                <a:gd name="T35" fmla="*/ 413 h 456"/>
                <a:gd name="T36" fmla="*/ 145 w 166"/>
                <a:gd name="T37" fmla="*/ 407 h 456"/>
                <a:gd name="T38" fmla="*/ 153 w 166"/>
                <a:gd name="T39" fmla="*/ 402 h 456"/>
                <a:gd name="T40" fmla="*/ 160 w 166"/>
                <a:gd name="T41" fmla="*/ 393 h 456"/>
                <a:gd name="T42" fmla="*/ 166 w 166"/>
                <a:gd name="T43" fmla="*/ 375 h 456"/>
                <a:gd name="T44" fmla="*/ 165 w 166"/>
                <a:gd name="T45" fmla="*/ 350 h 456"/>
                <a:gd name="T46" fmla="*/ 158 w 166"/>
                <a:gd name="T47" fmla="*/ 328 h 456"/>
                <a:gd name="T48" fmla="*/ 148 w 166"/>
                <a:gd name="T49" fmla="*/ 307 h 456"/>
                <a:gd name="T50" fmla="*/ 141 w 166"/>
                <a:gd name="T51" fmla="*/ 284 h 456"/>
                <a:gd name="T52" fmla="*/ 135 w 166"/>
                <a:gd name="T53" fmla="*/ 269 h 456"/>
                <a:gd name="T54" fmla="*/ 118 w 166"/>
                <a:gd name="T55" fmla="*/ 251 h 456"/>
                <a:gd name="T56" fmla="*/ 97 w 166"/>
                <a:gd name="T57" fmla="*/ 224 h 456"/>
                <a:gd name="T58" fmla="*/ 85 w 166"/>
                <a:gd name="T59" fmla="*/ 206 h 456"/>
                <a:gd name="T60" fmla="*/ 80 w 166"/>
                <a:gd name="T61" fmla="*/ 195 h 456"/>
                <a:gd name="T62" fmla="*/ 81 w 166"/>
                <a:gd name="T63" fmla="*/ 177 h 456"/>
                <a:gd name="T64" fmla="*/ 88 w 166"/>
                <a:gd name="T65" fmla="*/ 147 h 456"/>
                <a:gd name="T66" fmla="*/ 96 w 166"/>
                <a:gd name="T67" fmla="*/ 129 h 456"/>
                <a:gd name="T68" fmla="*/ 98 w 166"/>
                <a:gd name="T69" fmla="*/ 113 h 456"/>
                <a:gd name="T70" fmla="*/ 95 w 166"/>
                <a:gd name="T71" fmla="*/ 82 h 456"/>
                <a:gd name="T72" fmla="*/ 92 w 166"/>
                <a:gd name="T73" fmla="*/ 45 h 456"/>
                <a:gd name="T74" fmla="*/ 89 w 166"/>
                <a:gd name="T75" fmla="*/ 18 h 456"/>
                <a:gd name="T76" fmla="*/ 71 w 166"/>
                <a:gd name="T77" fmla="*/ 8 h 456"/>
                <a:gd name="T78" fmla="*/ 33 w 166"/>
                <a:gd name="T79" fmla="*/ 4 h 456"/>
                <a:gd name="T80" fmla="*/ 12 w 166"/>
                <a:gd name="T81" fmla="*/ 10 h 456"/>
                <a:gd name="T82" fmla="*/ 22 w 166"/>
                <a:gd name="T83" fmla="*/ 25 h 456"/>
                <a:gd name="T84" fmla="*/ 33 w 166"/>
                <a:gd name="T85" fmla="*/ 30 h 456"/>
                <a:gd name="T86" fmla="*/ 40 w 166"/>
                <a:gd name="T87" fmla="*/ 44 h 456"/>
                <a:gd name="T88" fmla="*/ 40 w 166"/>
                <a:gd name="T89" fmla="*/ 64 h 456"/>
                <a:gd name="T90" fmla="*/ 40 w 166"/>
                <a:gd name="T91" fmla="*/ 78 h 456"/>
                <a:gd name="T92" fmla="*/ 36 w 166"/>
                <a:gd name="T93" fmla="*/ 85 h 456"/>
                <a:gd name="T94" fmla="*/ 29 w 166"/>
                <a:gd name="T95" fmla="*/ 95 h 456"/>
                <a:gd name="T96" fmla="*/ 15 w 166"/>
                <a:gd name="T97" fmla="*/ 109 h 456"/>
                <a:gd name="T98" fmla="*/ 3 w 166"/>
                <a:gd name="T99" fmla="*/ 122 h 456"/>
                <a:gd name="T100" fmla="*/ 7 w 166"/>
                <a:gd name="T101" fmla="*/ 27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6" name="Freeform 475">
              <a:extLst>
                <a:ext uri="{FF2B5EF4-FFF2-40B4-BE49-F238E27FC236}">
                  <a16:creationId xmlns="" xmlns:a16="http://schemas.microsoft.com/office/drawing/2014/main" id="{22A269A2-DE20-0545-86A8-6905992313F0}"/>
                </a:ext>
              </a:extLst>
            </p:cNvPr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4329113" y="2533650"/>
              <a:ext cx="14287" cy="57150"/>
            </a:xfrm>
            <a:custGeom>
              <a:avLst/>
              <a:gdLst>
                <a:gd name="T0" fmla="*/ 27 w 27"/>
                <a:gd name="T1" fmla="*/ 0 h 19"/>
                <a:gd name="T2" fmla="*/ 27 w 27"/>
                <a:gd name="T3" fmla="*/ 12 h 19"/>
                <a:gd name="T4" fmla="*/ 27 w 27"/>
                <a:gd name="T5" fmla="*/ 19 h 19"/>
                <a:gd name="T6" fmla="*/ 9 w 27"/>
                <a:gd name="T7" fmla="*/ 19 h 19"/>
                <a:gd name="T8" fmla="*/ 0 w 27"/>
                <a:gd name="T9" fmla="*/ 19 h 19"/>
                <a:gd name="T10" fmla="*/ 9 w 27"/>
                <a:gd name="T11" fmla="*/ 12 h 19"/>
                <a:gd name="T12" fmla="*/ 2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7" name="Freeform 476">
              <a:extLst>
                <a:ext uri="{FF2B5EF4-FFF2-40B4-BE49-F238E27FC236}">
                  <a16:creationId xmlns="" xmlns:a16="http://schemas.microsoft.com/office/drawing/2014/main" id="{4B278710-0E4E-A44F-8674-9E38F82D7F36}"/>
                </a:ext>
              </a:extLst>
            </p:cNvPr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4648200" y="4154488"/>
              <a:ext cx="188913" cy="217487"/>
            </a:xfrm>
            <a:custGeom>
              <a:avLst/>
              <a:gdLst>
                <a:gd name="T0" fmla="*/ 284 w 438"/>
                <a:gd name="T1" fmla="*/ 8 h 406"/>
                <a:gd name="T2" fmla="*/ 320 w 438"/>
                <a:gd name="T3" fmla="*/ 27 h 406"/>
                <a:gd name="T4" fmla="*/ 363 w 438"/>
                <a:gd name="T5" fmla="*/ 47 h 406"/>
                <a:gd name="T6" fmla="*/ 395 w 438"/>
                <a:gd name="T7" fmla="*/ 58 h 406"/>
                <a:gd name="T8" fmla="*/ 416 w 438"/>
                <a:gd name="T9" fmla="*/ 61 h 406"/>
                <a:gd name="T10" fmla="*/ 425 w 438"/>
                <a:gd name="T11" fmla="*/ 81 h 406"/>
                <a:gd name="T12" fmla="*/ 429 w 438"/>
                <a:gd name="T13" fmla="*/ 120 h 406"/>
                <a:gd name="T14" fmla="*/ 434 w 438"/>
                <a:gd name="T15" fmla="*/ 157 h 406"/>
                <a:gd name="T16" fmla="*/ 438 w 438"/>
                <a:gd name="T17" fmla="*/ 195 h 406"/>
                <a:gd name="T18" fmla="*/ 438 w 438"/>
                <a:gd name="T19" fmla="*/ 223 h 406"/>
                <a:gd name="T20" fmla="*/ 435 w 438"/>
                <a:gd name="T21" fmla="*/ 237 h 406"/>
                <a:gd name="T22" fmla="*/ 425 w 438"/>
                <a:gd name="T23" fmla="*/ 259 h 406"/>
                <a:gd name="T24" fmla="*/ 407 w 438"/>
                <a:gd name="T25" fmla="*/ 287 h 406"/>
                <a:gd name="T26" fmla="*/ 391 w 438"/>
                <a:gd name="T27" fmla="*/ 307 h 406"/>
                <a:gd name="T28" fmla="*/ 381 w 438"/>
                <a:gd name="T29" fmla="*/ 320 h 406"/>
                <a:gd name="T30" fmla="*/ 374 w 438"/>
                <a:gd name="T31" fmla="*/ 332 h 406"/>
                <a:gd name="T32" fmla="*/ 372 w 438"/>
                <a:gd name="T33" fmla="*/ 352 h 406"/>
                <a:gd name="T34" fmla="*/ 359 w 438"/>
                <a:gd name="T35" fmla="*/ 372 h 406"/>
                <a:gd name="T36" fmla="*/ 321 w 438"/>
                <a:gd name="T37" fmla="*/ 401 h 406"/>
                <a:gd name="T38" fmla="*/ 205 w 438"/>
                <a:gd name="T39" fmla="*/ 388 h 406"/>
                <a:gd name="T40" fmla="*/ 182 w 438"/>
                <a:gd name="T41" fmla="*/ 379 h 406"/>
                <a:gd name="T42" fmla="*/ 165 w 438"/>
                <a:gd name="T43" fmla="*/ 370 h 406"/>
                <a:gd name="T44" fmla="*/ 150 w 438"/>
                <a:gd name="T45" fmla="*/ 359 h 406"/>
                <a:gd name="T46" fmla="*/ 139 w 438"/>
                <a:gd name="T47" fmla="*/ 346 h 406"/>
                <a:gd name="T48" fmla="*/ 124 w 438"/>
                <a:gd name="T49" fmla="*/ 322 h 406"/>
                <a:gd name="T50" fmla="*/ 108 w 438"/>
                <a:gd name="T51" fmla="*/ 296 h 406"/>
                <a:gd name="T52" fmla="*/ 94 w 438"/>
                <a:gd name="T53" fmla="*/ 279 h 406"/>
                <a:gd name="T54" fmla="*/ 72 w 438"/>
                <a:gd name="T55" fmla="*/ 259 h 406"/>
                <a:gd name="T56" fmla="*/ 44 w 438"/>
                <a:gd name="T57" fmla="*/ 234 h 406"/>
                <a:gd name="T58" fmla="*/ 24 w 438"/>
                <a:gd name="T59" fmla="*/ 213 h 406"/>
                <a:gd name="T60" fmla="*/ 13 w 438"/>
                <a:gd name="T61" fmla="*/ 195 h 406"/>
                <a:gd name="T62" fmla="*/ 4 w 438"/>
                <a:gd name="T63" fmla="*/ 176 h 406"/>
                <a:gd name="T64" fmla="*/ 0 w 438"/>
                <a:gd name="T65" fmla="*/ 154 h 406"/>
                <a:gd name="T66" fmla="*/ 18 w 438"/>
                <a:gd name="T67" fmla="*/ 141 h 406"/>
                <a:gd name="T68" fmla="*/ 40 w 438"/>
                <a:gd name="T69" fmla="*/ 141 h 406"/>
                <a:gd name="T70" fmla="*/ 53 w 438"/>
                <a:gd name="T71" fmla="*/ 141 h 406"/>
                <a:gd name="T72" fmla="*/ 63 w 438"/>
                <a:gd name="T73" fmla="*/ 138 h 406"/>
                <a:gd name="T74" fmla="*/ 77 w 438"/>
                <a:gd name="T75" fmla="*/ 131 h 406"/>
                <a:gd name="T76" fmla="*/ 99 w 438"/>
                <a:gd name="T77" fmla="*/ 108 h 406"/>
                <a:gd name="T78" fmla="*/ 117 w 438"/>
                <a:gd name="T79" fmla="*/ 87 h 406"/>
                <a:gd name="T80" fmla="*/ 130 w 438"/>
                <a:gd name="T81" fmla="*/ 80 h 406"/>
                <a:gd name="T82" fmla="*/ 150 w 438"/>
                <a:gd name="T83" fmla="*/ 71 h 406"/>
                <a:gd name="T84" fmla="*/ 179 w 438"/>
                <a:gd name="T85" fmla="*/ 60 h 406"/>
                <a:gd name="T86" fmla="*/ 203 w 438"/>
                <a:gd name="T87" fmla="*/ 50 h 406"/>
                <a:gd name="T88" fmla="*/ 211 w 438"/>
                <a:gd name="T89" fmla="*/ 43 h 406"/>
                <a:gd name="T90" fmla="*/ 210 w 438"/>
                <a:gd name="T91" fmla="*/ 38 h 406"/>
                <a:gd name="T92" fmla="*/ 211 w 438"/>
                <a:gd name="T93" fmla="*/ 30 h 406"/>
                <a:gd name="T94" fmla="*/ 213 w 438"/>
                <a:gd name="T95" fmla="*/ 17 h 406"/>
                <a:gd name="T96" fmla="*/ 217 w 438"/>
                <a:gd name="T97" fmla="*/ 12 h 406"/>
                <a:gd name="T98" fmla="*/ 225 w 438"/>
                <a:gd name="T99" fmla="*/ 12 h 406"/>
                <a:gd name="T100" fmla="*/ 232 w 438"/>
                <a:gd name="T101" fmla="*/ 9 h 406"/>
                <a:gd name="T102" fmla="*/ 236 w 438"/>
                <a:gd name="T103" fmla="*/ 4 h 406"/>
                <a:gd name="T104" fmla="*/ 244 w 438"/>
                <a:gd name="T105" fmla="*/ 2 h 406"/>
                <a:gd name="T106" fmla="*/ 251 w 438"/>
                <a:gd name="T107" fmla="*/ 3 h 406"/>
                <a:gd name="T108" fmla="*/ 264 w 438"/>
                <a:gd name="T109" fmla="*/ 1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8" name="Freeform 477">
              <a:extLst>
                <a:ext uri="{FF2B5EF4-FFF2-40B4-BE49-F238E27FC236}">
                  <a16:creationId xmlns="" xmlns:a16="http://schemas.microsoft.com/office/drawing/2014/main" id="{AA0D1C74-7C88-9B4C-981A-708551D1B485}"/>
                </a:ext>
              </a:extLst>
            </p:cNvPr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4560888" y="3930650"/>
              <a:ext cx="293687" cy="300038"/>
            </a:xfrm>
            <a:custGeom>
              <a:avLst/>
              <a:gdLst>
                <a:gd name="T0" fmla="*/ 513 w 678"/>
                <a:gd name="T1" fmla="*/ 8 h 574"/>
                <a:gd name="T2" fmla="*/ 552 w 678"/>
                <a:gd name="T3" fmla="*/ 26 h 574"/>
                <a:gd name="T4" fmla="*/ 645 w 678"/>
                <a:gd name="T5" fmla="*/ 63 h 574"/>
                <a:gd name="T6" fmla="*/ 660 w 678"/>
                <a:gd name="T7" fmla="*/ 88 h 574"/>
                <a:gd name="T8" fmla="*/ 678 w 678"/>
                <a:gd name="T9" fmla="*/ 94 h 574"/>
                <a:gd name="T10" fmla="*/ 678 w 678"/>
                <a:gd name="T11" fmla="*/ 127 h 574"/>
                <a:gd name="T12" fmla="*/ 677 w 678"/>
                <a:gd name="T13" fmla="*/ 144 h 574"/>
                <a:gd name="T14" fmla="*/ 667 w 678"/>
                <a:gd name="T15" fmla="*/ 158 h 574"/>
                <a:gd name="T16" fmla="*/ 647 w 678"/>
                <a:gd name="T17" fmla="*/ 178 h 574"/>
                <a:gd name="T18" fmla="*/ 638 w 678"/>
                <a:gd name="T19" fmla="*/ 346 h 574"/>
                <a:gd name="T20" fmla="*/ 461 w 678"/>
                <a:gd name="T21" fmla="*/ 388 h 574"/>
                <a:gd name="T22" fmla="*/ 461 w 678"/>
                <a:gd name="T23" fmla="*/ 415 h 574"/>
                <a:gd name="T24" fmla="*/ 455 w 678"/>
                <a:gd name="T25" fmla="*/ 435 h 574"/>
                <a:gd name="T26" fmla="*/ 444 w 678"/>
                <a:gd name="T27" fmla="*/ 435 h 574"/>
                <a:gd name="T28" fmla="*/ 434 w 678"/>
                <a:gd name="T29" fmla="*/ 440 h 574"/>
                <a:gd name="T30" fmla="*/ 425 w 678"/>
                <a:gd name="T31" fmla="*/ 445 h 574"/>
                <a:gd name="T32" fmla="*/ 414 w 678"/>
                <a:gd name="T33" fmla="*/ 447 h 574"/>
                <a:gd name="T34" fmla="*/ 411 w 678"/>
                <a:gd name="T35" fmla="*/ 463 h 574"/>
                <a:gd name="T36" fmla="*/ 410 w 678"/>
                <a:gd name="T37" fmla="*/ 474 h 574"/>
                <a:gd name="T38" fmla="*/ 403 w 678"/>
                <a:gd name="T39" fmla="*/ 483 h 574"/>
                <a:gd name="T40" fmla="*/ 365 w 678"/>
                <a:gd name="T41" fmla="*/ 498 h 574"/>
                <a:gd name="T42" fmla="*/ 330 w 678"/>
                <a:gd name="T43" fmla="*/ 513 h 574"/>
                <a:gd name="T44" fmla="*/ 313 w 678"/>
                <a:gd name="T45" fmla="*/ 525 h 574"/>
                <a:gd name="T46" fmla="*/ 277 w 678"/>
                <a:gd name="T47" fmla="*/ 564 h 574"/>
                <a:gd name="T48" fmla="*/ 258 w 678"/>
                <a:gd name="T49" fmla="*/ 573 h 574"/>
                <a:gd name="T50" fmla="*/ 238 w 678"/>
                <a:gd name="T51" fmla="*/ 574 h 574"/>
                <a:gd name="T52" fmla="*/ 193 w 678"/>
                <a:gd name="T53" fmla="*/ 574 h 574"/>
                <a:gd name="T54" fmla="*/ 186 w 678"/>
                <a:gd name="T55" fmla="*/ 559 h 574"/>
                <a:gd name="T56" fmla="*/ 165 w 678"/>
                <a:gd name="T57" fmla="*/ 547 h 574"/>
                <a:gd name="T58" fmla="*/ 133 w 678"/>
                <a:gd name="T59" fmla="*/ 545 h 574"/>
                <a:gd name="T60" fmla="*/ 93 w 678"/>
                <a:gd name="T61" fmla="*/ 556 h 574"/>
                <a:gd name="T62" fmla="*/ 33 w 678"/>
                <a:gd name="T63" fmla="*/ 527 h 574"/>
                <a:gd name="T64" fmla="*/ 0 w 678"/>
                <a:gd name="T65" fmla="*/ 285 h 574"/>
                <a:gd name="T66" fmla="*/ 73 w 678"/>
                <a:gd name="T67" fmla="*/ 286 h 574"/>
                <a:gd name="T68" fmla="*/ 103 w 678"/>
                <a:gd name="T69" fmla="*/ 282 h 574"/>
                <a:gd name="T70" fmla="*/ 119 w 678"/>
                <a:gd name="T71" fmla="*/ 275 h 574"/>
                <a:gd name="T72" fmla="*/ 129 w 678"/>
                <a:gd name="T73" fmla="*/ 256 h 574"/>
                <a:gd name="T74" fmla="*/ 131 w 678"/>
                <a:gd name="T75" fmla="*/ 229 h 574"/>
                <a:gd name="T76" fmla="*/ 126 w 678"/>
                <a:gd name="T77" fmla="*/ 185 h 574"/>
                <a:gd name="T78" fmla="*/ 130 w 678"/>
                <a:gd name="T79" fmla="*/ 165 h 574"/>
                <a:gd name="T80" fmla="*/ 140 w 678"/>
                <a:gd name="T81" fmla="*/ 171 h 574"/>
                <a:gd name="T82" fmla="*/ 174 w 678"/>
                <a:gd name="T83" fmla="*/ 175 h 574"/>
                <a:gd name="T84" fmla="*/ 188 w 678"/>
                <a:gd name="T85" fmla="*/ 186 h 574"/>
                <a:gd name="T86" fmla="*/ 195 w 678"/>
                <a:gd name="T87" fmla="*/ 201 h 574"/>
                <a:gd name="T88" fmla="*/ 208 w 678"/>
                <a:gd name="T89" fmla="*/ 210 h 574"/>
                <a:gd name="T90" fmla="*/ 241 w 678"/>
                <a:gd name="T91" fmla="*/ 217 h 574"/>
                <a:gd name="T92" fmla="*/ 269 w 678"/>
                <a:gd name="T93" fmla="*/ 214 h 574"/>
                <a:gd name="T94" fmla="*/ 301 w 678"/>
                <a:gd name="T95" fmla="*/ 199 h 574"/>
                <a:gd name="T96" fmla="*/ 319 w 678"/>
                <a:gd name="T97" fmla="*/ 196 h 574"/>
                <a:gd name="T98" fmla="*/ 331 w 678"/>
                <a:gd name="T99" fmla="*/ 193 h 574"/>
                <a:gd name="T100" fmla="*/ 343 w 678"/>
                <a:gd name="T101" fmla="*/ 190 h 574"/>
                <a:gd name="T102" fmla="*/ 357 w 678"/>
                <a:gd name="T103" fmla="*/ 182 h 574"/>
                <a:gd name="T104" fmla="*/ 368 w 678"/>
                <a:gd name="T105" fmla="*/ 168 h 574"/>
                <a:gd name="T106" fmla="*/ 383 w 678"/>
                <a:gd name="T107" fmla="*/ 126 h 574"/>
                <a:gd name="T108" fmla="*/ 403 w 678"/>
                <a:gd name="T109" fmla="*/ 47 h 574"/>
                <a:gd name="T110" fmla="*/ 414 w 678"/>
                <a:gd name="T111" fmla="*/ 10 h 574"/>
                <a:gd name="T112" fmla="*/ 431 w 678"/>
                <a:gd name="T113" fmla="*/ 6 h 574"/>
                <a:gd name="T114" fmla="*/ 453 w 678"/>
                <a:gd name="T115" fmla="*/ 8 h 574"/>
                <a:gd name="T116" fmla="*/ 482 w 678"/>
                <a:gd name="T117" fmla="*/ 1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99" name="Freeform 478">
              <a:extLst>
                <a:ext uri="{FF2B5EF4-FFF2-40B4-BE49-F238E27FC236}">
                  <a16:creationId xmlns="" xmlns:a16="http://schemas.microsoft.com/office/drawing/2014/main" id="{A71744AA-E33B-4644-88EC-BF729C45A569}"/>
                </a:ext>
              </a:extLst>
            </p:cNvPr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4297363" y="4203700"/>
              <a:ext cx="350837" cy="381000"/>
            </a:xfrm>
            <a:custGeom>
              <a:avLst/>
              <a:gdLst>
                <a:gd name="T0" fmla="*/ 797 w 810"/>
                <a:gd name="T1" fmla="*/ 42 h 727"/>
                <a:gd name="T2" fmla="*/ 766 w 810"/>
                <a:gd name="T3" fmla="*/ 26 h 727"/>
                <a:gd name="T4" fmla="*/ 718 w 810"/>
                <a:gd name="T5" fmla="*/ 33 h 727"/>
                <a:gd name="T6" fmla="*/ 634 w 810"/>
                <a:gd name="T7" fmla="*/ 44 h 727"/>
                <a:gd name="T8" fmla="*/ 604 w 810"/>
                <a:gd name="T9" fmla="*/ 55 h 727"/>
                <a:gd name="T10" fmla="*/ 280 w 810"/>
                <a:gd name="T11" fmla="*/ 40 h 727"/>
                <a:gd name="T12" fmla="*/ 232 w 810"/>
                <a:gd name="T13" fmla="*/ 37 h 727"/>
                <a:gd name="T14" fmla="*/ 172 w 810"/>
                <a:gd name="T15" fmla="*/ 17 h 727"/>
                <a:gd name="T16" fmla="*/ 116 w 810"/>
                <a:gd name="T17" fmla="*/ 0 h 727"/>
                <a:gd name="T18" fmla="*/ 83 w 810"/>
                <a:gd name="T19" fmla="*/ 5 h 727"/>
                <a:gd name="T20" fmla="*/ 53 w 810"/>
                <a:gd name="T21" fmla="*/ 24 h 727"/>
                <a:gd name="T22" fmla="*/ 0 w 810"/>
                <a:gd name="T23" fmla="*/ 55 h 727"/>
                <a:gd name="T24" fmla="*/ 7 w 810"/>
                <a:gd name="T25" fmla="*/ 68 h 727"/>
                <a:gd name="T26" fmla="*/ 26 w 810"/>
                <a:gd name="T27" fmla="*/ 74 h 727"/>
                <a:gd name="T28" fmla="*/ 36 w 810"/>
                <a:gd name="T29" fmla="*/ 129 h 727"/>
                <a:gd name="T30" fmla="*/ 60 w 810"/>
                <a:gd name="T31" fmla="*/ 192 h 727"/>
                <a:gd name="T32" fmla="*/ 109 w 810"/>
                <a:gd name="T33" fmla="*/ 276 h 727"/>
                <a:gd name="T34" fmla="*/ 133 w 810"/>
                <a:gd name="T35" fmla="*/ 300 h 727"/>
                <a:gd name="T36" fmla="*/ 159 w 810"/>
                <a:gd name="T37" fmla="*/ 302 h 727"/>
                <a:gd name="T38" fmla="*/ 159 w 810"/>
                <a:gd name="T39" fmla="*/ 332 h 727"/>
                <a:gd name="T40" fmla="*/ 152 w 810"/>
                <a:gd name="T41" fmla="*/ 359 h 727"/>
                <a:gd name="T42" fmla="*/ 146 w 810"/>
                <a:gd name="T43" fmla="*/ 394 h 727"/>
                <a:gd name="T44" fmla="*/ 150 w 810"/>
                <a:gd name="T45" fmla="*/ 425 h 727"/>
                <a:gd name="T46" fmla="*/ 173 w 810"/>
                <a:gd name="T47" fmla="*/ 484 h 727"/>
                <a:gd name="T48" fmla="*/ 179 w 810"/>
                <a:gd name="T49" fmla="*/ 518 h 727"/>
                <a:gd name="T50" fmla="*/ 187 w 810"/>
                <a:gd name="T51" fmla="*/ 606 h 727"/>
                <a:gd name="T52" fmla="*/ 204 w 810"/>
                <a:gd name="T53" fmla="*/ 647 h 727"/>
                <a:gd name="T54" fmla="*/ 231 w 810"/>
                <a:gd name="T55" fmla="*/ 690 h 727"/>
                <a:gd name="T56" fmla="*/ 245 w 810"/>
                <a:gd name="T57" fmla="*/ 700 h 727"/>
                <a:gd name="T58" fmla="*/ 259 w 810"/>
                <a:gd name="T59" fmla="*/ 715 h 727"/>
                <a:gd name="T60" fmla="*/ 265 w 810"/>
                <a:gd name="T61" fmla="*/ 678 h 727"/>
                <a:gd name="T62" fmla="*/ 308 w 810"/>
                <a:gd name="T63" fmla="*/ 696 h 727"/>
                <a:gd name="T64" fmla="*/ 328 w 810"/>
                <a:gd name="T65" fmla="*/ 713 h 727"/>
                <a:gd name="T66" fmla="*/ 372 w 810"/>
                <a:gd name="T67" fmla="*/ 726 h 727"/>
                <a:gd name="T68" fmla="*/ 407 w 810"/>
                <a:gd name="T69" fmla="*/ 723 h 727"/>
                <a:gd name="T70" fmla="*/ 429 w 810"/>
                <a:gd name="T71" fmla="*/ 710 h 727"/>
                <a:gd name="T72" fmla="*/ 452 w 810"/>
                <a:gd name="T73" fmla="*/ 675 h 727"/>
                <a:gd name="T74" fmla="*/ 463 w 810"/>
                <a:gd name="T75" fmla="*/ 529 h 727"/>
                <a:gd name="T76" fmla="*/ 465 w 810"/>
                <a:gd name="T77" fmla="*/ 480 h 727"/>
                <a:gd name="T78" fmla="*/ 471 w 810"/>
                <a:gd name="T79" fmla="*/ 469 h 727"/>
                <a:gd name="T80" fmla="*/ 463 w 810"/>
                <a:gd name="T81" fmla="*/ 426 h 727"/>
                <a:gd name="T82" fmla="*/ 469 w 810"/>
                <a:gd name="T83" fmla="*/ 368 h 727"/>
                <a:gd name="T84" fmla="*/ 500 w 810"/>
                <a:gd name="T85" fmla="*/ 330 h 727"/>
                <a:gd name="T86" fmla="*/ 525 w 810"/>
                <a:gd name="T87" fmla="*/ 320 h 727"/>
                <a:gd name="T88" fmla="*/ 538 w 810"/>
                <a:gd name="T89" fmla="*/ 232 h 727"/>
                <a:gd name="T90" fmla="*/ 551 w 810"/>
                <a:gd name="T91" fmla="*/ 148 h 727"/>
                <a:gd name="T92" fmla="*/ 541 w 810"/>
                <a:gd name="T93" fmla="*/ 124 h 727"/>
                <a:gd name="T94" fmla="*/ 531 w 810"/>
                <a:gd name="T95" fmla="*/ 99 h 727"/>
                <a:gd name="T96" fmla="*/ 539 w 810"/>
                <a:gd name="T97" fmla="*/ 86 h 727"/>
                <a:gd name="T98" fmla="*/ 617 w 810"/>
                <a:gd name="T99" fmla="*/ 80 h 727"/>
                <a:gd name="T100" fmla="*/ 708 w 810"/>
                <a:gd name="T101" fmla="*/ 63 h 727"/>
                <a:gd name="T102" fmla="*/ 803 w 810"/>
                <a:gd name="T103" fmla="*/ 61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0" name="Freeform 479">
              <a:extLst>
                <a:ext uri="{FF2B5EF4-FFF2-40B4-BE49-F238E27FC236}">
                  <a16:creationId xmlns="" xmlns:a16="http://schemas.microsoft.com/office/drawing/2014/main" id="{BAE6EB60-5976-AA41-AB09-3E67D4BAE8FB}"/>
                </a:ext>
              </a:extLst>
            </p:cNvPr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3576638" y="3133725"/>
              <a:ext cx="161925" cy="141288"/>
            </a:xfrm>
            <a:custGeom>
              <a:avLst/>
              <a:gdLst>
                <a:gd name="T0" fmla="*/ 203 w 365"/>
                <a:gd name="T1" fmla="*/ 250 h 271"/>
                <a:gd name="T2" fmla="*/ 163 w 365"/>
                <a:gd name="T3" fmla="*/ 246 h 271"/>
                <a:gd name="T4" fmla="*/ 121 w 365"/>
                <a:gd name="T5" fmla="*/ 247 h 271"/>
                <a:gd name="T6" fmla="*/ 92 w 365"/>
                <a:gd name="T7" fmla="*/ 250 h 271"/>
                <a:gd name="T8" fmla="*/ 74 w 365"/>
                <a:gd name="T9" fmla="*/ 255 h 271"/>
                <a:gd name="T10" fmla="*/ 26 w 365"/>
                <a:gd name="T11" fmla="*/ 271 h 271"/>
                <a:gd name="T12" fmla="*/ 20 w 365"/>
                <a:gd name="T13" fmla="*/ 270 h 271"/>
                <a:gd name="T14" fmla="*/ 17 w 365"/>
                <a:gd name="T15" fmla="*/ 266 h 271"/>
                <a:gd name="T16" fmla="*/ 18 w 365"/>
                <a:gd name="T17" fmla="*/ 254 h 271"/>
                <a:gd name="T18" fmla="*/ 26 w 365"/>
                <a:gd name="T19" fmla="*/ 228 h 271"/>
                <a:gd name="T20" fmla="*/ 61 w 365"/>
                <a:gd name="T21" fmla="*/ 226 h 271"/>
                <a:gd name="T22" fmla="*/ 89 w 365"/>
                <a:gd name="T23" fmla="*/ 222 h 271"/>
                <a:gd name="T24" fmla="*/ 115 w 365"/>
                <a:gd name="T25" fmla="*/ 218 h 271"/>
                <a:gd name="T26" fmla="*/ 146 w 365"/>
                <a:gd name="T27" fmla="*/ 216 h 271"/>
                <a:gd name="T28" fmla="*/ 182 w 365"/>
                <a:gd name="T29" fmla="*/ 218 h 271"/>
                <a:gd name="T30" fmla="*/ 199 w 365"/>
                <a:gd name="T31" fmla="*/ 218 h 271"/>
                <a:gd name="T32" fmla="*/ 219 w 365"/>
                <a:gd name="T33" fmla="*/ 216 h 271"/>
                <a:gd name="T34" fmla="*/ 215 w 365"/>
                <a:gd name="T35" fmla="*/ 208 h 271"/>
                <a:gd name="T36" fmla="*/ 210 w 365"/>
                <a:gd name="T37" fmla="*/ 201 h 271"/>
                <a:gd name="T38" fmla="*/ 195 w 365"/>
                <a:gd name="T39" fmla="*/ 194 h 271"/>
                <a:gd name="T40" fmla="*/ 175 w 365"/>
                <a:gd name="T41" fmla="*/ 191 h 271"/>
                <a:gd name="T42" fmla="*/ 152 w 365"/>
                <a:gd name="T43" fmla="*/ 190 h 271"/>
                <a:gd name="T44" fmla="*/ 93 w 365"/>
                <a:gd name="T45" fmla="*/ 192 h 271"/>
                <a:gd name="T46" fmla="*/ 64 w 365"/>
                <a:gd name="T47" fmla="*/ 196 h 271"/>
                <a:gd name="T48" fmla="*/ 33 w 365"/>
                <a:gd name="T49" fmla="*/ 203 h 271"/>
                <a:gd name="T50" fmla="*/ 38 w 365"/>
                <a:gd name="T51" fmla="*/ 183 h 271"/>
                <a:gd name="T52" fmla="*/ 39 w 365"/>
                <a:gd name="T53" fmla="*/ 172 h 271"/>
                <a:gd name="T54" fmla="*/ 26 w 365"/>
                <a:gd name="T55" fmla="*/ 164 h 271"/>
                <a:gd name="T56" fmla="*/ 13 w 365"/>
                <a:gd name="T57" fmla="*/ 160 h 271"/>
                <a:gd name="T58" fmla="*/ 11 w 365"/>
                <a:gd name="T59" fmla="*/ 147 h 271"/>
                <a:gd name="T60" fmla="*/ 6 w 365"/>
                <a:gd name="T61" fmla="*/ 143 h 271"/>
                <a:gd name="T62" fmla="*/ 2 w 365"/>
                <a:gd name="T63" fmla="*/ 141 h 271"/>
                <a:gd name="T64" fmla="*/ 0 w 365"/>
                <a:gd name="T65" fmla="*/ 135 h 271"/>
                <a:gd name="T66" fmla="*/ 5 w 365"/>
                <a:gd name="T67" fmla="*/ 115 h 271"/>
                <a:gd name="T68" fmla="*/ 17 w 365"/>
                <a:gd name="T69" fmla="*/ 92 h 271"/>
                <a:gd name="T70" fmla="*/ 30 w 365"/>
                <a:gd name="T71" fmla="*/ 69 h 271"/>
                <a:gd name="T72" fmla="*/ 39 w 365"/>
                <a:gd name="T73" fmla="*/ 49 h 271"/>
                <a:gd name="T74" fmla="*/ 48 w 365"/>
                <a:gd name="T75" fmla="*/ 42 h 271"/>
                <a:gd name="T76" fmla="*/ 49 w 365"/>
                <a:gd name="T77" fmla="*/ 48 h 271"/>
                <a:gd name="T78" fmla="*/ 52 w 365"/>
                <a:gd name="T79" fmla="*/ 36 h 271"/>
                <a:gd name="T80" fmla="*/ 75 w 365"/>
                <a:gd name="T81" fmla="*/ 31 h 271"/>
                <a:gd name="T82" fmla="*/ 114 w 365"/>
                <a:gd name="T83" fmla="*/ 18 h 271"/>
                <a:gd name="T84" fmla="*/ 165 w 365"/>
                <a:gd name="T85" fmla="*/ 0 h 271"/>
                <a:gd name="T86" fmla="*/ 184 w 365"/>
                <a:gd name="T87" fmla="*/ 15 h 271"/>
                <a:gd name="T88" fmla="*/ 202 w 365"/>
                <a:gd name="T89" fmla="*/ 24 h 271"/>
                <a:gd name="T90" fmla="*/ 220 w 365"/>
                <a:gd name="T91" fmla="*/ 29 h 271"/>
                <a:gd name="T92" fmla="*/ 239 w 365"/>
                <a:gd name="T93" fmla="*/ 30 h 271"/>
                <a:gd name="T94" fmla="*/ 241 w 365"/>
                <a:gd name="T95" fmla="*/ 52 h 271"/>
                <a:gd name="T96" fmla="*/ 247 w 365"/>
                <a:gd name="T97" fmla="*/ 69 h 271"/>
                <a:gd name="T98" fmla="*/ 254 w 365"/>
                <a:gd name="T99" fmla="*/ 84 h 271"/>
                <a:gd name="T100" fmla="*/ 264 w 365"/>
                <a:gd name="T101" fmla="*/ 95 h 271"/>
                <a:gd name="T102" fmla="*/ 305 w 365"/>
                <a:gd name="T103" fmla="*/ 129 h 271"/>
                <a:gd name="T104" fmla="*/ 352 w 365"/>
                <a:gd name="T105" fmla="*/ 234 h 271"/>
                <a:gd name="T106" fmla="*/ 359 w 365"/>
                <a:gd name="T107" fmla="*/ 257 h 271"/>
                <a:gd name="T108" fmla="*/ 365 w 365"/>
                <a:gd name="T109" fmla="*/ 271 h 271"/>
                <a:gd name="T110" fmla="*/ 321 w 365"/>
                <a:gd name="T111" fmla="*/ 259 h 271"/>
                <a:gd name="T112" fmla="*/ 275 w 365"/>
                <a:gd name="T113" fmla="*/ 252 h 271"/>
                <a:gd name="T114" fmla="*/ 248 w 365"/>
                <a:gd name="T115" fmla="*/ 251 h 271"/>
                <a:gd name="T116" fmla="*/ 219 w 365"/>
                <a:gd name="T117" fmla="*/ 252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1" name="Freeform 480">
              <a:extLst>
                <a:ext uri="{FF2B5EF4-FFF2-40B4-BE49-F238E27FC236}">
                  <a16:creationId xmlns="" xmlns:a16="http://schemas.microsoft.com/office/drawing/2014/main" id="{E1E0144B-B997-9A44-891A-04A35299DCFB}"/>
                </a:ext>
              </a:extLst>
            </p:cNvPr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4749800" y="3695700"/>
              <a:ext cx="269875" cy="334963"/>
            </a:xfrm>
            <a:custGeom>
              <a:avLst/>
              <a:gdLst>
                <a:gd name="T0" fmla="*/ 146 w 624"/>
                <a:gd name="T1" fmla="*/ 12 h 640"/>
                <a:gd name="T2" fmla="*/ 239 w 624"/>
                <a:gd name="T3" fmla="*/ 12 h 640"/>
                <a:gd name="T4" fmla="*/ 287 w 624"/>
                <a:gd name="T5" fmla="*/ 5 h 640"/>
                <a:gd name="T6" fmla="*/ 326 w 624"/>
                <a:gd name="T7" fmla="*/ 22 h 640"/>
                <a:gd name="T8" fmla="*/ 396 w 624"/>
                <a:gd name="T9" fmla="*/ 66 h 640"/>
                <a:gd name="T10" fmla="*/ 465 w 624"/>
                <a:gd name="T11" fmla="*/ 111 h 640"/>
                <a:gd name="T12" fmla="*/ 469 w 624"/>
                <a:gd name="T13" fmla="*/ 131 h 640"/>
                <a:gd name="T14" fmla="*/ 480 w 624"/>
                <a:gd name="T15" fmla="*/ 153 h 640"/>
                <a:gd name="T16" fmla="*/ 497 w 624"/>
                <a:gd name="T17" fmla="*/ 170 h 640"/>
                <a:gd name="T18" fmla="*/ 519 w 624"/>
                <a:gd name="T19" fmla="*/ 183 h 640"/>
                <a:gd name="T20" fmla="*/ 543 w 624"/>
                <a:gd name="T21" fmla="*/ 190 h 640"/>
                <a:gd name="T22" fmla="*/ 554 w 624"/>
                <a:gd name="T23" fmla="*/ 195 h 640"/>
                <a:gd name="T24" fmla="*/ 565 w 624"/>
                <a:gd name="T25" fmla="*/ 205 h 640"/>
                <a:gd name="T26" fmla="*/ 561 w 624"/>
                <a:gd name="T27" fmla="*/ 227 h 640"/>
                <a:gd name="T28" fmla="*/ 537 w 624"/>
                <a:gd name="T29" fmla="*/ 252 h 640"/>
                <a:gd name="T30" fmla="*/ 525 w 624"/>
                <a:gd name="T31" fmla="*/ 271 h 640"/>
                <a:gd name="T32" fmla="*/ 533 w 624"/>
                <a:gd name="T33" fmla="*/ 287 h 640"/>
                <a:gd name="T34" fmla="*/ 547 w 624"/>
                <a:gd name="T35" fmla="*/ 299 h 640"/>
                <a:gd name="T36" fmla="*/ 552 w 624"/>
                <a:gd name="T37" fmla="*/ 425 h 640"/>
                <a:gd name="T38" fmla="*/ 550 w 624"/>
                <a:gd name="T39" fmla="*/ 439 h 640"/>
                <a:gd name="T40" fmla="*/ 558 w 624"/>
                <a:gd name="T41" fmla="*/ 462 h 640"/>
                <a:gd name="T42" fmla="*/ 558 w 624"/>
                <a:gd name="T43" fmla="*/ 489 h 640"/>
                <a:gd name="T44" fmla="*/ 561 w 624"/>
                <a:gd name="T45" fmla="*/ 515 h 640"/>
                <a:gd name="T46" fmla="*/ 594 w 624"/>
                <a:gd name="T47" fmla="*/ 549 h 640"/>
                <a:gd name="T48" fmla="*/ 616 w 624"/>
                <a:gd name="T49" fmla="*/ 579 h 640"/>
                <a:gd name="T50" fmla="*/ 575 w 624"/>
                <a:gd name="T51" fmla="*/ 600 h 640"/>
                <a:gd name="T52" fmla="*/ 491 w 624"/>
                <a:gd name="T53" fmla="*/ 631 h 640"/>
                <a:gd name="T54" fmla="*/ 443 w 624"/>
                <a:gd name="T55" fmla="*/ 638 h 640"/>
                <a:gd name="T56" fmla="*/ 392 w 624"/>
                <a:gd name="T57" fmla="*/ 628 h 640"/>
                <a:gd name="T58" fmla="*/ 339 w 624"/>
                <a:gd name="T59" fmla="*/ 633 h 640"/>
                <a:gd name="T60" fmla="*/ 306 w 624"/>
                <a:gd name="T61" fmla="*/ 628 h 640"/>
                <a:gd name="T62" fmla="*/ 299 w 624"/>
                <a:gd name="T63" fmla="*/ 614 h 640"/>
                <a:gd name="T64" fmla="*/ 294 w 624"/>
                <a:gd name="T65" fmla="*/ 573 h 640"/>
                <a:gd name="T66" fmla="*/ 288 w 624"/>
                <a:gd name="T67" fmla="*/ 529 h 640"/>
                <a:gd name="T68" fmla="*/ 253 w 624"/>
                <a:gd name="T69" fmla="*/ 517 h 640"/>
                <a:gd name="T70" fmla="*/ 185 w 624"/>
                <a:gd name="T71" fmla="*/ 502 h 640"/>
                <a:gd name="T72" fmla="*/ 90 w 624"/>
                <a:gd name="T73" fmla="*/ 459 h 640"/>
                <a:gd name="T74" fmla="*/ 68 w 624"/>
                <a:gd name="T75" fmla="*/ 446 h 640"/>
                <a:gd name="T76" fmla="*/ 66 w 624"/>
                <a:gd name="T77" fmla="*/ 428 h 640"/>
                <a:gd name="T78" fmla="*/ 65 w 624"/>
                <a:gd name="T79" fmla="*/ 402 h 640"/>
                <a:gd name="T80" fmla="*/ 53 w 624"/>
                <a:gd name="T81" fmla="*/ 377 h 640"/>
                <a:gd name="T82" fmla="*/ 41 w 624"/>
                <a:gd name="T83" fmla="*/ 357 h 640"/>
                <a:gd name="T84" fmla="*/ 27 w 624"/>
                <a:gd name="T85" fmla="*/ 347 h 640"/>
                <a:gd name="T86" fmla="*/ 12 w 624"/>
                <a:gd name="T87" fmla="*/ 332 h 640"/>
                <a:gd name="T88" fmla="*/ 5 w 624"/>
                <a:gd name="T89" fmla="*/ 308 h 640"/>
                <a:gd name="T90" fmla="*/ 0 w 624"/>
                <a:gd name="T91" fmla="*/ 262 h 640"/>
                <a:gd name="T92" fmla="*/ 0 w 624"/>
                <a:gd name="T93" fmla="*/ 234 h 640"/>
                <a:gd name="T94" fmla="*/ 10 w 624"/>
                <a:gd name="T95" fmla="*/ 212 h 640"/>
                <a:gd name="T96" fmla="*/ 38 w 624"/>
                <a:gd name="T97" fmla="*/ 195 h 640"/>
                <a:gd name="T98" fmla="*/ 61 w 624"/>
                <a:gd name="T99" fmla="*/ 173 h 640"/>
                <a:gd name="T100" fmla="*/ 77 w 624"/>
                <a:gd name="T101" fmla="*/ 77 h 640"/>
                <a:gd name="T102" fmla="*/ 84 w 624"/>
                <a:gd name="T103" fmla="*/ 43 h 640"/>
                <a:gd name="T104" fmla="*/ 82 w 624"/>
                <a:gd name="T105" fmla="*/ 8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2" name="Freeform 481">
              <a:extLst>
                <a:ext uri="{FF2B5EF4-FFF2-40B4-BE49-F238E27FC236}">
                  <a16:creationId xmlns="" xmlns:a16="http://schemas.microsoft.com/office/drawing/2014/main" id="{0EED8DBC-CEED-DC42-8E4D-D2175C0A504E}"/>
                </a:ext>
              </a:extLst>
            </p:cNvPr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313613" y="2209800"/>
              <a:ext cx="19050" cy="57150"/>
            </a:xfrm>
            <a:custGeom>
              <a:avLst/>
              <a:gdLst>
                <a:gd name="T0" fmla="*/ 13 w 52"/>
                <a:gd name="T1" fmla="*/ 50 h 50"/>
                <a:gd name="T2" fmla="*/ 0 w 52"/>
                <a:gd name="T3" fmla="*/ 32 h 50"/>
                <a:gd name="T4" fmla="*/ 2 w 52"/>
                <a:gd name="T5" fmla="*/ 25 h 50"/>
                <a:gd name="T6" fmla="*/ 6 w 52"/>
                <a:gd name="T7" fmla="*/ 18 h 50"/>
                <a:gd name="T8" fmla="*/ 12 w 52"/>
                <a:gd name="T9" fmla="*/ 13 h 50"/>
                <a:gd name="T10" fmla="*/ 18 w 52"/>
                <a:gd name="T11" fmla="*/ 9 h 50"/>
                <a:gd name="T12" fmla="*/ 26 w 52"/>
                <a:gd name="T13" fmla="*/ 5 h 50"/>
                <a:gd name="T14" fmla="*/ 34 w 52"/>
                <a:gd name="T15" fmla="*/ 3 h 50"/>
                <a:gd name="T16" fmla="*/ 43 w 52"/>
                <a:gd name="T17" fmla="*/ 1 h 50"/>
                <a:gd name="T18" fmla="*/ 52 w 52"/>
                <a:gd name="T19" fmla="*/ 0 h 50"/>
                <a:gd name="T20" fmla="*/ 40 w 52"/>
                <a:gd name="T21" fmla="*/ 11 h 50"/>
                <a:gd name="T22" fmla="*/ 27 w 52"/>
                <a:gd name="T23" fmla="*/ 22 h 50"/>
                <a:gd name="T24" fmla="*/ 22 w 52"/>
                <a:gd name="T25" fmla="*/ 30 h 50"/>
                <a:gd name="T26" fmla="*/ 17 w 52"/>
                <a:gd name="T27" fmla="*/ 36 h 50"/>
                <a:gd name="T28" fmla="*/ 14 w 52"/>
                <a:gd name="T29" fmla="*/ 43 h 50"/>
                <a:gd name="T30" fmla="*/ 13 w 52"/>
                <a:gd name="T31" fmla="*/ 50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3" name="Freeform 482">
              <a:extLst>
                <a:ext uri="{FF2B5EF4-FFF2-40B4-BE49-F238E27FC236}">
                  <a16:creationId xmlns="" xmlns:a16="http://schemas.microsoft.com/office/drawing/2014/main" id="{1E7D9951-4088-E74D-883D-994B3640CF7B}"/>
                </a:ext>
              </a:extLst>
            </p:cNvPr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172325" y="2211388"/>
              <a:ext cx="141288" cy="125412"/>
            </a:xfrm>
            <a:custGeom>
              <a:avLst/>
              <a:gdLst>
                <a:gd name="T0" fmla="*/ 76 w 320"/>
                <a:gd name="T1" fmla="*/ 231 h 234"/>
                <a:gd name="T2" fmla="*/ 61 w 320"/>
                <a:gd name="T3" fmla="*/ 226 h 234"/>
                <a:gd name="T4" fmla="*/ 66 w 320"/>
                <a:gd name="T5" fmla="*/ 222 h 234"/>
                <a:gd name="T6" fmla="*/ 77 w 320"/>
                <a:gd name="T7" fmla="*/ 217 h 234"/>
                <a:gd name="T8" fmla="*/ 64 w 320"/>
                <a:gd name="T9" fmla="*/ 204 h 234"/>
                <a:gd name="T10" fmla="*/ 43 w 320"/>
                <a:gd name="T11" fmla="*/ 189 h 234"/>
                <a:gd name="T12" fmla="*/ 36 w 320"/>
                <a:gd name="T13" fmla="*/ 179 h 234"/>
                <a:gd name="T14" fmla="*/ 34 w 320"/>
                <a:gd name="T15" fmla="*/ 171 h 234"/>
                <a:gd name="T16" fmla="*/ 34 w 320"/>
                <a:gd name="T17" fmla="*/ 164 h 234"/>
                <a:gd name="T18" fmla="*/ 36 w 320"/>
                <a:gd name="T19" fmla="*/ 157 h 234"/>
                <a:gd name="T20" fmla="*/ 43 w 320"/>
                <a:gd name="T21" fmla="*/ 149 h 234"/>
                <a:gd name="T22" fmla="*/ 56 w 320"/>
                <a:gd name="T23" fmla="*/ 141 h 234"/>
                <a:gd name="T24" fmla="*/ 73 w 320"/>
                <a:gd name="T25" fmla="*/ 137 h 234"/>
                <a:gd name="T26" fmla="*/ 80 w 320"/>
                <a:gd name="T27" fmla="*/ 126 h 234"/>
                <a:gd name="T28" fmla="*/ 67 w 320"/>
                <a:gd name="T29" fmla="*/ 111 h 234"/>
                <a:gd name="T30" fmla="*/ 61 w 320"/>
                <a:gd name="T31" fmla="*/ 102 h 234"/>
                <a:gd name="T32" fmla="*/ 60 w 320"/>
                <a:gd name="T33" fmla="*/ 86 h 234"/>
                <a:gd name="T34" fmla="*/ 55 w 320"/>
                <a:gd name="T35" fmla="*/ 70 h 234"/>
                <a:gd name="T36" fmla="*/ 46 w 320"/>
                <a:gd name="T37" fmla="*/ 46 h 234"/>
                <a:gd name="T38" fmla="*/ 33 w 320"/>
                <a:gd name="T39" fmla="*/ 31 h 234"/>
                <a:gd name="T40" fmla="*/ 20 w 320"/>
                <a:gd name="T41" fmla="*/ 25 h 234"/>
                <a:gd name="T42" fmla="*/ 7 w 320"/>
                <a:gd name="T43" fmla="*/ 10 h 234"/>
                <a:gd name="T44" fmla="*/ 9 w 320"/>
                <a:gd name="T45" fmla="*/ 0 h 234"/>
                <a:gd name="T46" fmla="*/ 24 w 320"/>
                <a:gd name="T47" fmla="*/ 0 h 234"/>
                <a:gd name="T48" fmla="*/ 38 w 320"/>
                <a:gd name="T49" fmla="*/ 3 h 234"/>
                <a:gd name="T50" fmla="*/ 56 w 320"/>
                <a:gd name="T51" fmla="*/ 16 h 234"/>
                <a:gd name="T52" fmla="*/ 78 w 320"/>
                <a:gd name="T53" fmla="*/ 35 h 234"/>
                <a:gd name="T54" fmla="*/ 96 w 320"/>
                <a:gd name="T55" fmla="*/ 48 h 234"/>
                <a:gd name="T56" fmla="*/ 119 w 320"/>
                <a:gd name="T57" fmla="*/ 58 h 234"/>
                <a:gd name="T58" fmla="*/ 152 w 320"/>
                <a:gd name="T59" fmla="*/ 70 h 234"/>
                <a:gd name="T60" fmla="*/ 181 w 320"/>
                <a:gd name="T61" fmla="*/ 79 h 234"/>
                <a:gd name="T62" fmla="*/ 214 w 320"/>
                <a:gd name="T63" fmla="*/ 85 h 234"/>
                <a:gd name="T64" fmla="*/ 236 w 320"/>
                <a:gd name="T65" fmla="*/ 77 h 234"/>
                <a:gd name="T66" fmla="*/ 257 w 320"/>
                <a:gd name="T67" fmla="*/ 83 h 234"/>
                <a:gd name="T68" fmla="*/ 284 w 320"/>
                <a:gd name="T69" fmla="*/ 107 h 234"/>
                <a:gd name="T70" fmla="*/ 305 w 320"/>
                <a:gd name="T71" fmla="*/ 119 h 234"/>
                <a:gd name="T72" fmla="*/ 297 w 320"/>
                <a:gd name="T73" fmla="*/ 133 h 234"/>
                <a:gd name="T74" fmla="*/ 268 w 320"/>
                <a:gd name="T75" fmla="*/ 144 h 234"/>
                <a:gd name="T76" fmla="*/ 249 w 320"/>
                <a:gd name="T77" fmla="*/ 148 h 234"/>
                <a:gd name="T78" fmla="*/ 237 w 320"/>
                <a:gd name="T79" fmla="*/ 159 h 234"/>
                <a:gd name="T80" fmla="*/ 232 w 320"/>
                <a:gd name="T81" fmla="*/ 176 h 234"/>
                <a:gd name="T82" fmla="*/ 231 w 320"/>
                <a:gd name="T83" fmla="*/ 187 h 234"/>
                <a:gd name="T84" fmla="*/ 222 w 320"/>
                <a:gd name="T85" fmla="*/ 192 h 234"/>
                <a:gd name="T86" fmla="*/ 204 w 320"/>
                <a:gd name="T87" fmla="*/ 189 h 234"/>
                <a:gd name="T88" fmla="*/ 186 w 320"/>
                <a:gd name="T89" fmla="*/ 181 h 234"/>
                <a:gd name="T90" fmla="*/ 168 w 320"/>
                <a:gd name="T91" fmla="*/ 170 h 234"/>
                <a:gd name="T92" fmla="*/ 155 w 320"/>
                <a:gd name="T93" fmla="*/ 164 h 234"/>
                <a:gd name="T94" fmla="*/ 145 w 320"/>
                <a:gd name="T95" fmla="*/ 161 h 234"/>
                <a:gd name="T96" fmla="*/ 131 w 320"/>
                <a:gd name="T97" fmla="*/ 162 h 234"/>
                <a:gd name="T98" fmla="*/ 114 w 320"/>
                <a:gd name="T99" fmla="*/ 167 h 234"/>
                <a:gd name="T100" fmla="*/ 100 w 320"/>
                <a:gd name="T101" fmla="*/ 173 h 234"/>
                <a:gd name="T102" fmla="*/ 87 w 320"/>
                <a:gd name="T103" fmla="*/ 178 h 234"/>
                <a:gd name="T104" fmla="*/ 85 w 320"/>
                <a:gd name="T105" fmla="*/ 183 h 234"/>
                <a:gd name="T106" fmla="*/ 96 w 320"/>
                <a:gd name="T107" fmla="*/ 191 h 234"/>
                <a:gd name="T108" fmla="*/ 116 w 320"/>
                <a:gd name="T109" fmla="*/ 200 h 234"/>
                <a:gd name="T110" fmla="*/ 126 w 320"/>
                <a:gd name="T111" fmla="*/ 212 h 234"/>
                <a:gd name="T112" fmla="*/ 113 w 320"/>
                <a:gd name="T113" fmla="*/ 224 h 234"/>
                <a:gd name="T114" fmla="*/ 102 w 320"/>
                <a:gd name="T115" fmla="*/ 231 h 234"/>
                <a:gd name="T116" fmla="*/ 91 w 320"/>
                <a:gd name="T117" fmla="*/ 234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4" name="Freeform 483">
              <a:extLst>
                <a:ext uri="{FF2B5EF4-FFF2-40B4-BE49-F238E27FC236}">
                  <a16:creationId xmlns="" xmlns:a16="http://schemas.microsoft.com/office/drawing/2014/main" id="{7A4085DD-ED6E-9143-BF73-B079210086E3}"/>
                </a:ext>
              </a:extLst>
            </p:cNvPr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142163" y="2565400"/>
              <a:ext cx="52387" cy="57150"/>
            </a:xfrm>
            <a:custGeom>
              <a:avLst/>
              <a:gdLst>
                <a:gd name="T0" fmla="*/ 33 w 125"/>
                <a:gd name="T1" fmla="*/ 19 h 93"/>
                <a:gd name="T2" fmla="*/ 43 w 125"/>
                <a:gd name="T3" fmla="*/ 19 h 93"/>
                <a:gd name="T4" fmla="*/ 52 w 125"/>
                <a:gd name="T5" fmla="*/ 19 h 93"/>
                <a:gd name="T6" fmla="*/ 55 w 125"/>
                <a:gd name="T7" fmla="*/ 19 h 93"/>
                <a:gd name="T8" fmla="*/ 58 w 125"/>
                <a:gd name="T9" fmla="*/ 17 h 93"/>
                <a:gd name="T10" fmla="*/ 61 w 125"/>
                <a:gd name="T11" fmla="*/ 15 h 93"/>
                <a:gd name="T12" fmla="*/ 65 w 125"/>
                <a:gd name="T13" fmla="*/ 11 h 93"/>
                <a:gd name="T14" fmla="*/ 68 w 125"/>
                <a:gd name="T15" fmla="*/ 8 h 93"/>
                <a:gd name="T16" fmla="*/ 70 w 125"/>
                <a:gd name="T17" fmla="*/ 5 h 93"/>
                <a:gd name="T18" fmla="*/ 72 w 125"/>
                <a:gd name="T19" fmla="*/ 3 h 93"/>
                <a:gd name="T20" fmla="*/ 72 w 125"/>
                <a:gd name="T21" fmla="*/ 0 h 93"/>
                <a:gd name="T22" fmla="*/ 118 w 125"/>
                <a:gd name="T23" fmla="*/ 0 h 93"/>
                <a:gd name="T24" fmla="*/ 122 w 125"/>
                <a:gd name="T25" fmla="*/ 15 h 93"/>
                <a:gd name="T26" fmla="*/ 125 w 125"/>
                <a:gd name="T27" fmla="*/ 25 h 93"/>
                <a:gd name="T28" fmla="*/ 124 w 125"/>
                <a:gd name="T29" fmla="*/ 29 h 93"/>
                <a:gd name="T30" fmla="*/ 122 w 125"/>
                <a:gd name="T31" fmla="*/ 33 h 93"/>
                <a:gd name="T32" fmla="*/ 119 w 125"/>
                <a:gd name="T33" fmla="*/ 35 h 93"/>
                <a:gd name="T34" fmla="*/ 117 w 125"/>
                <a:gd name="T35" fmla="*/ 37 h 93"/>
                <a:gd name="T36" fmla="*/ 111 w 125"/>
                <a:gd name="T37" fmla="*/ 40 h 93"/>
                <a:gd name="T38" fmla="*/ 104 w 125"/>
                <a:gd name="T39" fmla="*/ 41 h 93"/>
                <a:gd name="T40" fmla="*/ 88 w 125"/>
                <a:gd name="T41" fmla="*/ 41 h 93"/>
                <a:gd name="T42" fmla="*/ 72 w 125"/>
                <a:gd name="T43" fmla="*/ 43 h 93"/>
                <a:gd name="T44" fmla="*/ 70 w 125"/>
                <a:gd name="T45" fmla="*/ 47 h 93"/>
                <a:gd name="T46" fmla="*/ 69 w 125"/>
                <a:gd name="T47" fmla="*/ 53 h 93"/>
                <a:gd name="T48" fmla="*/ 67 w 125"/>
                <a:gd name="T49" fmla="*/ 61 h 93"/>
                <a:gd name="T50" fmla="*/ 67 w 125"/>
                <a:gd name="T51" fmla="*/ 71 h 93"/>
                <a:gd name="T52" fmla="*/ 66 w 125"/>
                <a:gd name="T53" fmla="*/ 86 h 93"/>
                <a:gd name="T54" fmla="*/ 66 w 125"/>
                <a:gd name="T55" fmla="*/ 93 h 93"/>
                <a:gd name="T56" fmla="*/ 49 w 125"/>
                <a:gd name="T57" fmla="*/ 85 h 93"/>
                <a:gd name="T58" fmla="*/ 27 w 125"/>
                <a:gd name="T59" fmla="*/ 73 h 93"/>
                <a:gd name="T60" fmla="*/ 16 w 125"/>
                <a:gd name="T61" fmla="*/ 65 h 93"/>
                <a:gd name="T62" fmla="*/ 7 w 125"/>
                <a:gd name="T63" fmla="*/ 58 h 93"/>
                <a:gd name="T64" fmla="*/ 4 w 125"/>
                <a:gd name="T65" fmla="*/ 54 h 93"/>
                <a:gd name="T66" fmla="*/ 2 w 125"/>
                <a:gd name="T67" fmla="*/ 50 h 93"/>
                <a:gd name="T68" fmla="*/ 0 w 125"/>
                <a:gd name="T69" fmla="*/ 47 h 93"/>
                <a:gd name="T70" fmla="*/ 0 w 125"/>
                <a:gd name="T71" fmla="*/ 43 h 93"/>
                <a:gd name="T72" fmla="*/ 7 w 125"/>
                <a:gd name="T73" fmla="*/ 43 h 93"/>
                <a:gd name="T74" fmla="*/ 15 w 125"/>
                <a:gd name="T75" fmla="*/ 41 h 93"/>
                <a:gd name="T76" fmla="*/ 20 w 125"/>
                <a:gd name="T77" fmla="*/ 39 h 93"/>
                <a:gd name="T78" fmla="*/ 23 w 125"/>
                <a:gd name="T79" fmla="*/ 36 h 93"/>
                <a:gd name="T80" fmla="*/ 28 w 125"/>
                <a:gd name="T81" fmla="*/ 28 h 93"/>
                <a:gd name="T82" fmla="*/ 33 w 125"/>
                <a:gd name="T83" fmla="*/ 19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5" name="Freeform 484">
              <a:extLst>
                <a:ext uri="{FF2B5EF4-FFF2-40B4-BE49-F238E27FC236}">
                  <a16:creationId xmlns="" xmlns:a16="http://schemas.microsoft.com/office/drawing/2014/main" id="{AC34CC1D-ADBF-6349-AB46-A01380A6CF31}"/>
                </a:ext>
              </a:extLst>
            </p:cNvPr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088188" y="2579688"/>
              <a:ext cx="60325" cy="84137"/>
            </a:xfrm>
            <a:custGeom>
              <a:avLst/>
              <a:gdLst>
                <a:gd name="T0" fmla="*/ 20 w 133"/>
                <a:gd name="T1" fmla="*/ 12 h 154"/>
                <a:gd name="T2" fmla="*/ 24 w 133"/>
                <a:gd name="T3" fmla="*/ 10 h 154"/>
                <a:gd name="T4" fmla="*/ 31 w 133"/>
                <a:gd name="T5" fmla="*/ 6 h 154"/>
                <a:gd name="T6" fmla="*/ 34 w 133"/>
                <a:gd name="T7" fmla="*/ 4 h 154"/>
                <a:gd name="T8" fmla="*/ 37 w 133"/>
                <a:gd name="T9" fmla="*/ 2 h 154"/>
                <a:gd name="T10" fmla="*/ 42 w 133"/>
                <a:gd name="T11" fmla="*/ 1 h 154"/>
                <a:gd name="T12" fmla="*/ 46 w 133"/>
                <a:gd name="T13" fmla="*/ 0 h 154"/>
                <a:gd name="T14" fmla="*/ 59 w 133"/>
                <a:gd name="T15" fmla="*/ 1 h 154"/>
                <a:gd name="T16" fmla="*/ 70 w 133"/>
                <a:gd name="T17" fmla="*/ 4 h 154"/>
                <a:gd name="T18" fmla="*/ 81 w 133"/>
                <a:gd name="T19" fmla="*/ 8 h 154"/>
                <a:gd name="T20" fmla="*/ 90 w 133"/>
                <a:gd name="T21" fmla="*/ 14 h 154"/>
                <a:gd name="T22" fmla="*/ 99 w 133"/>
                <a:gd name="T23" fmla="*/ 21 h 154"/>
                <a:gd name="T24" fmla="*/ 105 w 133"/>
                <a:gd name="T25" fmla="*/ 30 h 154"/>
                <a:gd name="T26" fmla="*/ 112 w 133"/>
                <a:gd name="T27" fmla="*/ 40 h 154"/>
                <a:gd name="T28" fmla="*/ 116 w 133"/>
                <a:gd name="T29" fmla="*/ 50 h 154"/>
                <a:gd name="T30" fmla="*/ 121 w 133"/>
                <a:gd name="T31" fmla="*/ 60 h 154"/>
                <a:gd name="T32" fmla="*/ 124 w 133"/>
                <a:gd name="T33" fmla="*/ 71 h 154"/>
                <a:gd name="T34" fmla="*/ 127 w 133"/>
                <a:gd name="T35" fmla="*/ 82 h 154"/>
                <a:gd name="T36" fmla="*/ 130 w 133"/>
                <a:gd name="T37" fmla="*/ 94 h 154"/>
                <a:gd name="T38" fmla="*/ 132 w 133"/>
                <a:gd name="T39" fmla="*/ 116 h 154"/>
                <a:gd name="T40" fmla="*/ 133 w 133"/>
                <a:gd name="T41" fmla="*/ 135 h 154"/>
                <a:gd name="T42" fmla="*/ 132 w 133"/>
                <a:gd name="T43" fmla="*/ 138 h 154"/>
                <a:gd name="T44" fmla="*/ 130 w 133"/>
                <a:gd name="T45" fmla="*/ 141 h 154"/>
                <a:gd name="T46" fmla="*/ 125 w 133"/>
                <a:gd name="T47" fmla="*/ 144 h 154"/>
                <a:gd name="T48" fmla="*/ 121 w 133"/>
                <a:gd name="T49" fmla="*/ 147 h 154"/>
                <a:gd name="T50" fmla="*/ 115 w 133"/>
                <a:gd name="T51" fmla="*/ 150 h 154"/>
                <a:gd name="T52" fmla="*/ 110 w 133"/>
                <a:gd name="T53" fmla="*/ 153 h 154"/>
                <a:gd name="T54" fmla="*/ 104 w 133"/>
                <a:gd name="T55" fmla="*/ 154 h 154"/>
                <a:gd name="T56" fmla="*/ 99 w 133"/>
                <a:gd name="T57" fmla="*/ 154 h 154"/>
                <a:gd name="T58" fmla="*/ 93 w 133"/>
                <a:gd name="T59" fmla="*/ 153 h 154"/>
                <a:gd name="T60" fmla="*/ 87 w 133"/>
                <a:gd name="T61" fmla="*/ 149 h 154"/>
                <a:gd name="T62" fmla="*/ 79 w 133"/>
                <a:gd name="T63" fmla="*/ 141 h 154"/>
                <a:gd name="T64" fmla="*/ 71 w 133"/>
                <a:gd name="T65" fmla="*/ 134 h 154"/>
                <a:gd name="T66" fmla="*/ 64 w 133"/>
                <a:gd name="T67" fmla="*/ 126 h 154"/>
                <a:gd name="T68" fmla="*/ 58 w 133"/>
                <a:gd name="T69" fmla="*/ 118 h 154"/>
                <a:gd name="T70" fmla="*/ 54 w 133"/>
                <a:gd name="T71" fmla="*/ 111 h 154"/>
                <a:gd name="T72" fmla="*/ 53 w 133"/>
                <a:gd name="T73" fmla="*/ 105 h 154"/>
                <a:gd name="T74" fmla="*/ 54 w 133"/>
                <a:gd name="T75" fmla="*/ 98 h 154"/>
                <a:gd name="T76" fmla="*/ 56 w 133"/>
                <a:gd name="T77" fmla="*/ 83 h 154"/>
                <a:gd name="T78" fmla="*/ 58 w 133"/>
                <a:gd name="T79" fmla="*/ 68 h 154"/>
                <a:gd name="T80" fmla="*/ 59 w 133"/>
                <a:gd name="T81" fmla="*/ 62 h 154"/>
                <a:gd name="T82" fmla="*/ 47 w 133"/>
                <a:gd name="T83" fmla="*/ 61 h 154"/>
                <a:gd name="T84" fmla="*/ 36 w 133"/>
                <a:gd name="T85" fmla="*/ 59 h 154"/>
                <a:gd name="T86" fmla="*/ 25 w 133"/>
                <a:gd name="T87" fmla="*/ 56 h 154"/>
                <a:gd name="T88" fmla="*/ 17 w 133"/>
                <a:gd name="T89" fmla="*/ 52 h 154"/>
                <a:gd name="T90" fmla="*/ 13 w 133"/>
                <a:gd name="T91" fmla="*/ 49 h 154"/>
                <a:gd name="T92" fmla="*/ 10 w 133"/>
                <a:gd name="T93" fmla="*/ 46 h 154"/>
                <a:gd name="T94" fmla="*/ 7 w 133"/>
                <a:gd name="T95" fmla="*/ 43 h 154"/>
                <a:gd name="T96" fmla="*/ 4 w 133"/>
                <a:gd name="T97" fmla="*/ 39 h 154"/>
                <a:gd name="T98" fmla="*/ 2 w 133"/>
                <a:gd name="T99" fmla="*/ 34 h 154"/>
                <a:gd name="T100" fmla="*/ 1 w 133"/>
                <a:gd name="T101" fmla="*/ 29 h 154"/>
                <a:gd name="T102" fmla="*/ 0 w 133"/>
                <a:gd name="T103" fmla="*/ 24 h 154"/>
                <a:gd name="T104" fmla="*/ 0 w 133"/>
                <a:gd name="T105" fmla="*/ 18 h 154"/>
                <a:gd name="T106" fmla="*/ 7 w 133"/>
                <a:gd name="T107" fmla="*/ 15 h 154"/>
                <a:gd name="T108" fmla="*/ 20 w 133"/>
                <a:gd name="T109" fmla="*/ 12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6" name="Freeform 485">
              <a:extLst>
                <a:ext uri="{FF2B5EF4-FFF2-40B4-BE49-F238E27FC236}">
                  <a16:creationId xmlns="" xmlns:a16="http://schemas.microsoft.com/office/drawing/2014/main" id="{3D833D79-80BC-2348-95EA-AED5AA823907}"/>
                </a:ext>
              </a:extLst>
            </p:cNvPr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04063" y="2341563"/>
              <a:ext cx="209550" cy="244475"/>
            </a:xfrm>
            <a:custGeom>
              <a:avLst/>
              <a:gdLst>
                <a:gd name="T0" fmla="*/ 134 w 485"/>
                <a:gd name="T1" fmla="*/ 351 h 468"/>
                <a:gd name="T2" fmla="*/ 167 w 485"/>
                <a:gd name="T3" fmla="*/ 339 h 468"/>
                <a:gd name="T4" fmla="*/ 200 w 485"/>
                <a:gd name="T5" fmla="*/ 339 h 468"/>
                <a:gd name="T6" fmla="*/ 226 w 485"/>
                <a:gd name="T7" fmla="*/ 348 h 468"/>
                <a:gd name="T8" fmla="*/ 224 w 485"/>
                <a:gd name="T9" fmla="*/ 327 h 468"/>
                <a:gd name="T10" fmla="*/ 220 w 485"/>
                <a:gd name="T11" fmla="*/ 316 h 468"/>
                <a:gd name="T12" fmla="*/ 233 w 485"/>
                <a:gd name="T13" fmla="*/ 303 h 468"/>
                <a:gd name="T14" fmla="*/ 239 w 485"/>
                <a:gd name="T15" fmla="*/ 276 h 468"/>
                <a:gd name="T16" fmla="*/ 242 w 485"/>
                <a:gd name="T17" fmla="*/ 246 h 468"/>
                <a:gd name="T18" fmla="*/ 268 w 485"/>
                <a:gd name="T19" fmla="*/ 255 h 468"/>
                <a:gd name="T20" fmla="*/ 300 w 485"/>
                <a:gd name="T21" fmla="*/ 238 h 468"/>
                <a:gd name="T22" fmla="*/ 316 w 485"/>
                <a:gd name="T23" fmla="*/ 217 h 468"/>
                <a:gd name="T24" fmla="*/ 293 w 485"/>
                <a:gd name="T25" fmla="*/ 194 h 468"/>
                <a:gd name="T26" fmla="*/ 318 w 485"/>
                <a:gd name="T27" fmla="*/ 199 h 468"/>
                <a:gd name="T28" fmla="*/ 343 w 485"/>
                <a:gd name="T29" fmla="*/ 202 h 468"/>
                <a:gd name="T30" fmla="*/ 346 w 485"/>
                <a:gd name="T31" fmla="*/ 185 h 468"/>
                <a:gd name="T32" fmla="*/ 295 w 485"/>
                <a:gd name="T33" fmla="*/ 96 h 468"/>
                <a:gd name="T34" fmla="*/ 285 w 485"/>
                <a:gd name="T35" fmla="*/ 53 h 468"/>
                <a:gd name="T36" fmla="*/ 291 w 485"/>
                <a:gd name="T37" fmla="*/ 19 h 468"/>
                <a:gd name="T38" fmla="*/ 316 w 485"/>
                <a:gd name="T39" fmla="*/ 1 h 468"/>
                <a:gd name="T40" fmla="*/ 336 w 485"/>
                <a:gd name="T41" fmla="*/ 18 h 468"/>
                <a:gd name="T42" fmla="*/ 377 w 485"/>
                <a:gd name="T43" fmla="*/ 45 h 468"/>
                <a:gd name="T44" fmla="*/ 415 w 485"/>
                <a:gd name="T45" fmla="*/ 72 h 468"/>
                <a:gd name="T46" fmla="*/ 426 w 485"/>
                <a:gd name="T47" fmla="*/ 98 h 468"/>
                <a:gd name="T48" fmla="*/ 436 w 485"/>
                <a:gd name="T49" fmla="*/ 137 h 468"/>
                <a:gd name="T50" fmla="*/ 445 w 485"/>
                <a:gd name="T51" fmla="*/ 173 h 468"/>
                <a:gd name="T52" fmla="*/ 428 w 485"/>
                <a:gd name="T53" fmla="*/ 179 h 468"/>
                <a:gd name="T54" fmla="*/ 412 w 485"/>
                <a:gd name="T55" fmla="*/ 185 h 468"/>
                <a:gd name="T56" fmla="*/ 426 w 485"/>
                <a:gd name="T57" fmla="*/ 199 h 468"/>
                <a:gd name="T58" fmla="*/ 445 w 485"/>
                <a:gd name="T59" fmla="*/ 203 h 468"/>
                <a:gd name="T60" fmla="*/ 455 w 485"/>
                <a:gd name="T61" fmla="*/ 262 h 468"/>
                <a:gd name="T62" fmla="*/ 475 w 485"/>
                <a:gd name="T63" fmla="*/ 312 h 468"/>
                <a:gd name="T64" fmla="*/ 480 w 485"/>
                <a:gd name="T65" fmla="*/ 381 h 468"/>
                <a:gd name="T66" fmla="*/ 463 w 485"/>
                <a:gd name="T67" fmla="*/ 364 h 468"/>
                <a:gd name="T68" fmla="*/ 453 w 485"/>
                <a:gd name="T69" fmla="*/ 356 h 468"/>
                <a:gd name="T70" fmla="*/ 436 w 485"/>
                <a:gd name="T71" fmla="*/ 363 h 468"/>
                <a:gd name="T72" fmla="*/ 429 w 485"/>
                <a:gd name="T73" fmla="*/ 399 h 468"/>
                <a:gd name="T74" fmla="*/ 408 w 485"/>
                <a:gd name="T75" fmla="*/ 389 h 468"/>
                <a:gd name="T76" fmla="*/ 389 w 485"/>
                <a:gd name="T77" fmla="*/ 382 h 468"/>
                <a:gd name="T78" fmla="*/ 376 w 485"/>
                <a:gd name="T79" fmla="*/ 402 h 468"/>
                <a:gd name="T80" fmla="*/ 345 w 485"/>
                <a:gd name="T81" fmla="*/ 413 h 468"/>
                <a:gd name="T82" fmla="*/ 334 w 485"/>
                <a:gd name="T83" fmla="*/ 400 h 468"/>
                <a:gd name="T84" fmla="*/ 312 w 485"/>
                <a:gd name="T85" fmla="*/ 395 h 468"/>
                <a:gd name="T86" fmla="*/ 303 w 485"/>
                <a:gd name="T87" fmla="*/ 426 h 468"/>
                <a:gd name="T88" fmla="*/ 299 w 485"/>
                <a:gd name="T89" fmla="*/ 450 h 468"/>
                <a:gd name="T90" fmla="*/ 307 w 485"/>
                <a:gd name="T91" fmla="*/ 466 h 468"/>
                <a:gd name="T92" fmla="*/ 272 w 485"/>
                <a:gd name="T93" fmla="*/ 468 h 468"/>
                <a:gd name="T94" fmla="*/ 258 w 485"/>
                <a:gd name="T95" fmla="*/ 465 h 468"/>
                <a:gd name="T96" fmla="*/ 244 w 485"/>
                <a:gd name="T97" fmla="*/ 440 h 468"/>
                <a:gd name="T98" fmla="*/ 229 w 485"/>
                <a:gd name="T99" fmla="*/ 418 h 468"/>
                <a:gd name="T100" fmla="*/ 204 w 485"/>
                <a:gd name="T101" fmla="*/ 406 h 468"/>
                <a:gd name="T102" fmla="*/ 190 w 485"/>
                <a:gd name="T103" fmla="*/ 394 h 468"/>
                <a:gd name="T104" fmla="*/ 136 w 485"/>
                <a:gd name="T105" fmla="*/ 417 h 468"/>
                <a:gd name="T106" fmla="*/ 90 w 485"/>
                <a:gd name="T107" fmla="*/ 435 h 468"/>
                <a:gd name="T108" fmla="*/ 65 w 485"/>
                <a:gd name="T109" fmla="*/ 459 h 468"/>
                <a:gd name="T110" fmla="*/ 27 w 485"/>
                <a:gd name="T111" fmla="*/ 461 h 468"/>
                <a:gd name="T112" fmla="*/ 7 w 485"/>
                <a:gd name="T113" fmla="*/ 438 h 468"/>
                <a:gd name="T114" fmla="*/ 0 w 485"/>
                <a:gd name="T115" fmla="*/ 417 h 468"/>
                <a:gd name="T116" fmla="*/ 7 w 485"/>
                <a:gd name="T117" fmla="*/ 413 h 468"/>
                <a:gd name="T118" fmla="*/ 27 w 485"/>
                <a:gd name="T119" fmla="*/ 414 h 468"/>
                <a:gd name="T120" fmla="*/ 48 w 485"/>
                <a:gd name="T121" fmla="*/ 405 h 468"/>
                <a:gd name="T122" fmla="*/ 72 w 485"/>
                <a:gd name="T123" fmla="*/ 369 h 468"/>
                <a:gd name="T124" fmla="*/ 93 w 485"/>
                <a:gd name="T125" fmla="*/ 352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7" name="Freeform 486">
              <a:extLst>
                <a:ext uri="{FF2B5EF4-FFF2-40B4-BE49-F238E27FC236}">
                  <a16:creationId xmlns="" xmlns:a16="http://schemas.microsoft.com/office/drawing/2014/main" id="{D27688BE-229E-1D49-8C5B-4D6B45AAAA7E}"/>
                </a:ext>
              </a:extLst>
            </p:cNvPr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4687888" y="12319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8" name="Freeform 487">
              <a:extLst>
                <a:ext uri="{FF2B5EF4-FFF2-40B4-BE49-F238E27FC236}">
                  <a16:creationId xmlns="" xmlns:a16="http://schemas.microsoft.com/office/drawing/2014/main" id="{6EAE2EF6-38ED-0F42-A6A5-EEFC2801C03E}"/>
                </a:ext>
              </a:extLst>
            </p:cNvPr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4830763" y="12144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09" name="Freeform 488">
              <a:extLst>
                <a:ext uri="{FF2B5EF4-FFF2-40B4-BE49-F238E27FC236}">
                  <a16:creationId xmlns="" xmlns:a16="http://schemas.microsoft.com/office/drawing/2014/main" id="{1B155012-3909-E441-A366-2C83EE7E0CF1}"/>
                </a:ext>
              </a:extLst>
            </p:cNvPr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4867275" y="12223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0" name="Freeform 489">
              <a:extLst>
                <a:ext uri="{FF2B5EF4-FFF2-40B4-BE49-F238E27FC236}">
                  <a16:creationId xmlns="" xmlns:a16="http://schemas.microsoft.com/office/drawing/2014/main" id="{CDD1A14B-EC93-C146-9DE2-B762AEE525E4}"/>
                </a:ext>
              </a:extLst>
            </p:cNvPr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400675" y="1408113"/>
              <a:ext cx="41275" cy="57150"/>
            </a:xfrm>
            <a:custGeom>
              <a:avLst/>
              <a:gdLst>
                <a:gd name="T0" fmla="*/ 93 w 100"/>
                <a:gd name="T1" fmla="*/ 0 h 42"/>
                <a:gd name="T2" fmla="*/ 97 w 100"/>
                <a:gd name="T3" fmla="*/ 7 h 42"/>
                <a:gd name="T4" fmla="*/ 100 w 100"/>
                <a:gd name="T5" fmla="*/ 18 h 42"/>
                <a:gd name="T6" fmla="*/ 92 w 100"/>
                <a:gd name="T7" fmla="*/ 24 h 42"/>
                <a:gd name="T8" fmla="*/ 86 w 100"/>
                <a:gd name="T9" fmla="*/ 29 h 42"/>
                <a:gd name="T10" fmla="*/ 79 w 100"/>
                <a:gd name="T11" fmla="*/ 34 h 42"/>
                <a:gd name="T12" fmla="*/ 72 w 100"/>
                <a:gd name="T13" fmla="*/ 37 h 42"/>
                <a:gd name="T14" fmla="*/ 65 w 100"/>
                <a:gd name="T15" fmla="*/ 39 h 42"/>
                <a:gd name="T16" fmla="*/ 57 w 100"/>
                <a:gd name="T17" fmla="*/ 41 h 42"/>
                <a:gd name="T18" fmla="*/ 49 w 100"/>
                <a:gd name="T19" fmla="*/ 42 h 42"/>
                <a:gd name="T20" fmla="*/ 40 w 100"/>
                <a:gd name="T21" fmla="*/ 42 h 42"/>
                <a:gd name="T22" fmla="*/ 27 w 100"/>
                <a:gd name="T23" fmla="*/ 41 h 42"/>
                <a:gd name="T24" fmla="*/ 12 w 100"/>
                <a:gd name="T25" fmla="*/ 39 h 42"/>
                <a:gd name="T26" fmla="*/ 1 w 100"/>
                <a:gd name="T27" fmla="*/ 37 h 42"/>
                <a:gd name="T28" fmla="*/ 0 w 100"/>
                <a:gd name="T29" fmla="*/ 36 h 42"/>
                <a:gd name="T30" fmla="*/ 6 w 100"/>
                <a:gd name="T31" fmla="*/ 36 h 42"/>
                <a:gd name="T32" fmla="*/ 12 w 100"/>
                <a:gd name="T33" fmla="*/ 35 h 42"/>
                <a:gd name="T34" fmla="*/ 18 w 100"/>
                <a:gd name="T35" fmla="*/ 33 h 42"/>
                <a:gd name="T36" fmla="*/ 23 w 100"/>
                <a:gd name="T37" fmla="*/ 30 h 42"/>
                <a:gd name="T38" fmla="*/ 33 w 100"/>
                <a:gd name="T39" fmla="*/ 25 h 42"/>
                <a:gd name="T40" fmla="*/ 44 w 100"/>
                <a:gd name="T41" fmla="*/ 18 h 42"/>
                <a:gd name="T42" fmla="*/ 55 w 100"/>
                <a:gd name="T43" fmla="*/ 11 h 42"/>
                <a:gd name="T44" fmla="*/ 66 w 100"/>
                <a:gd name="T45" fmla="*/ 5 h 42"/>
                <a:gd name="T46" fmla="*/ 72 w 100"/>
                <a:gd name="T47" fmla="*/ 3 h 42"/>
                <a:gd name="T48" fmla="*/ 79 w 100"/>
                <a:gd name="T49" fmla="*/ 1 h 42"/>
                <a:gd name="T50" fmla="*/ 86 w 100"/>
                <a:gd name="T51" fmla="*/ 0 h 42"/>
                <a:gd name="T52" fmla="*/ 93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1" name="Freeform 490">
              <a:extLst>
                <a:ext uri="{FF2B5EF4-FFF2-40B4-BE49-F238E27FC236}">
                  <a16:creationId xmlns="" xmlns:a16="http://schemas.microsoft.com/office/drawing/2014/main" id="{2CBC4CB6-E6B2-9140-BD6D-3E6D059A9117}"/>
                </a:ext>
              </a:extLst>
            </p:cNvPr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310188" y="1266825"/>
              <a:ext cx="15875" cy="58738"/>
            </a:xfrm>
            <a:custGeom>
              <a:avLst/>
              <a:gdLst>
                <a:gd name="T0" fmla="*/ 40 w 40"/>
                <a:gd name="T1" fmla="*/ 5 h 5"/>
                <a:gd name="T2" fmla="*/ 0 w 40"/>
                <a:gd name="T3" fmla="*/ 5 h 5"/>
                <a:gd name="T4" fmla="*/ 5 w 40"/>
                <a:gd name="T5" fmla="*/ 3 h 5"/>
                <a:gd name="T6" fmla="*/ 9 w 40"/>
                <a:gd name="T7" fmla="*/ 1 h 5"/>
                <a:gd name="T8" fmla="*/ 15 w 40"/>
                <a:gd name="T9" fmla="*/ 0 h 5"/>
                <a:gd name="T10" fmla="*/ 20 w 40"/>
                <a:gd name="T11" fmla="*/ 0 h 5"/>
                <a:gd name="T12" fmla="*/ 25 w 40"/>
                <a:gd name="T13" fmla="*/ 0 h 5"/>
                <a:gd name="T14" fmla="*/ 30 w 40"/>
                <a:gd name="T15" fmla="*/ 1 h 5"/>
                <a:gd name="T16" fmla="*/ 35 w 40"/>
                <a:gd name="T17" fmla="*/ 3 h 5"/>
                <a:gd name="T18" fmla="*/ 40 w 40"/>
                <a:gd name="T19" fmla="*/ 5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2" name="Freeform 491">
              <a:extLst>
                <a:ext uri="{FF2B5EF4-FFF2-40B4-BE49-F238E27FC236}">
                  <a16:creationId xmlns="" xmlns:a16="http://schemas.microsoft.com/office/drawing/2014/main" id="{18195E02-1658-E949-88E3-5938BE5725E2}"/>
                </a:ext>
              </a:extLst>
            </p:cNvPr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332413" y="1225550"/>
              <a:ext cx="14287" cy="60325"/>
            </a:xfrm>
            <a:custGeom>
              <a:avLst/>
              <a:gdLst>
                <a:gd name="T0" fmla="*/ 0 w 33"/>
                <a:gd name="T1" fmla="*/ 19 h 31"/>
                <a:gd name="T2" fmla="*/ 20 w 33"/>
                <a:gd name="T3" fmla="*/ 0 h 31"/>
                <a:gd name="T4" fmla="*/ 20 w 33"/>
                <a:gd name="T5" fmla="*/ 4 h 31"/>
                <a:gd name="T6" fmla="*/ 22 w 33"/>
                <a:gd name="T7" fmla="*/ 10 h 31"/>
                <a:gd name="T8" fmla="*/ 25 w 33"/>
                <a:gd name="T9" fmla="*/ 14 h 31"/>
                <a:gd name="T10" fmla="*/ 27 w 33"/>
                <a:gd name="T11" fmla="*/ 18 h 31"/>
                <a:gd name="T12" fmla="*/ 31 w 33"/>
                <a:gd name="T13" fmla="*/ 26 h 31"/>
                <a:gd name="T14" fmla="*/ 33 w 33"/>
                <a:gd name="T15" fmla="*/ 31 h 31"/>
                <a:gd name="T16" fmla="*/ 0 w 33"/>
                <a:gd name="T17" fmla="*/ 31 h 31"/>
                <a:gd name="T18" fmla="*/ 0 w 33"/>
                <a:gd name="T19" fmla="*/ 25 h 31"/>
                <a:gd name="T20" fmla="*/ 0 w 33"/>
                <a:gd name="T21" fmla="*/ 19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3" name="Freeform 492">
              <a:extLst>
                <a:ext uri="{FF2B5EF4-FFF2-40B4-BE49-F238E27FC236}">
                  <a16:creationId xmlns="" xmlns:a16="http://schemas.microsoft.com/office/drawing/2014/main" id="{4ECDFACC-8FDB-BB45-998B-5C08E45F66C4}"/>
                </a:ext>
              </a:extLst>
            </p:cNvPr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5476875" y="1341438"/>
              <a:ext cx="17463" cy="57150"/>
            </a:xfrm>
            <a:custGeom>
              <a:avLst/>
              <a:gdLst>
                <a:gd name="T0" fmla="*/ 41 w 41"/>
                <a:gd name="T1" fmla="*/ 0 h 43"/>
                <a:gd name="T2" fmla="*/ 41 w 41"/>
                <a:gd name="T3" fmla="*/ 43 h 43"/>
                <a:gd name="T4" fmla="*/ 31 w 41"/>
                <a:gd name="T5" fmla="*/ 42 h 43"/>
                <a:gd name="T6" fmla="*/ 24 w 41"/>
                <a:gd name="T7" fmla="*/ 40 h 43"/>
                <a:gd name="T8" fmla="*/ 18 w 41"/>
                <a:gd name="T9" fmla="*/ 37 h 43"/>
                <a:gd name="T10" fmla="*/ 13 w 41"/>
                <a:gd name="T11" fmla="*/ 33 h 43"/>
                <a:gd name="T12" fmla="*/ 5 w 41"/>
                <a:gd name="T13" fmla="*/ 25 h 43"/>
                <a:gd name="T14" fmla="*/ 0 w 41"/>
                <a:gd name="T15" fmla="*/ 19 h 43"/>
                <a:gd name="T16" fmla="*/ 12 w 41"/>
                <a:gd name="T17" fmla="*/ 13 h 43"/>
                <a:gd name="T18" fmla="*/ 25 w 41"/>
                <a:gd name="T19" fmla="*/ 7 h 43"/>
                <a:gd name="T20" fmla="*/ 36 w 41"/>
                <a:gd name="T21" fmla="*/ 2 h 43"/>
                <a:gd name="T22" fmla="*/ 41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4" name="Freeform 493">
              <a:extLst>
                <a:ext uri="{FF2B5EF4-FFF2-40B4-BE49-F238E27FC236}">
                  <a16:creationId xmlns="" xmlns:a16="http://schemas.microsoft.com/office/drawing/2014/main" id="{1216C95A-93C5-4B44-B1B7-B4CB626C9D69}"/>
                </a:ext>
              </a:extLst>
            </p:cNvPr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530850" y="1225550"/>
              <a:ext cx="93663" cy="60325"/>
            </a:xfrm>
            <a:custGeom>
              <a:avLst/>
              <a:gdLst>
                <a:gd name="T0" fmla="*/ 61 w 213"/>
                <a:gd name="T1" fmla="*/ 0 h 62"/>
                <a:gd name="T2" fmla="*/ 83 w 213"/>
                <a:gd name="T3" fmla="*/ 0 h 62"/>
                <a:gd name="T4" fmla="*/ 105 w 213"/>
                <a:gd name="T5" fmla="*/ 1 h 62"/>
                <a:gd name="T6" fmla="*/ 127 w 213"/>
                <a:gd name="T7" fmla="*/ 3 h 62"/>
                <a:gd name="T8" fmla="*/ 146 w 213"/>
                <a:gd name="T9" fmla="*/ 7 h 62"/>
                <a:gd name="T10" fmla="*/ 166 w 213"/>
                <a:gd name="T11" fmla="*/ 11 h 62"/>
                <a:gd name="T12" fmla="*/ 184 w 213"/>
                <a:gd name="T13" fmla="*/ 16 h 62"/>
                <a:gd name="T14" fmla="*/ 191 w 213"/>
                <a:gd name="T15" fmla="*/ 19 h 62"/>
                <a:gd name="T16" fmla="*/ 199 w 213"/>
                <a:gd name="T17" fmla="*/ 23 h 62"/>
                <a:gd name="T18" fmla="*/ 207 w 213"/>
                <a:gd name="T19" fmla="*/ 27 h 62"/>
                <a:gd name="T20" fmla="*/ 213 w 213"/>
                <a:gd name="T21" fmla="*/ 31 h 62"/>
                <a:gd name="T22" fmla="*/ 211 w 213"/>
                <a:gd name="T23" fmla="*/ 35 h 62"/>
                <a:gd name="T24" fmla="*/ 207 w 213"/>
                <a:gd name="T25" fmla="*/ 38 h 62"/>
                <a:gd name="T26" fmla="*/ 201 w 213"/>
                <a:gd name="T27" fmla="*/ 41 h 62"/>
                <a:gd name="T28" fmla="*/ 195 w 213"/>
                <a:gd name="T29" fmla="*/ 44 h 62"/>
                <a:gd name="T30" fmla="*/ 177 w 213"/>
                <a:gd name="T31" fmla="*/ 49 h 62"/>
                <a:gd name="T32" fmla="*/ 156 w 213"/>
                <a:gd name="T33" fmla="*/ 53 h 62"/>
                <a:gd name="T34" fmla="*/ 135 w 213"/>
                <a:gd name="T35" fmla="*/ 57 h 62"/>
                <a:gd name="T36" fmla="*/ 114 w 213"/>
                <a:gd name="T37" fmla="*/ 59 h 62"/>
                <a:gd name="T38" fmla="*/ 95 w 213"/>
                <a:gd name="T39" fmla="*/ 62 h 62"/>
                <a:gd name="T40" fmla="*/ 80 w 213"/>
                <a:gd name="T41" fmla="*/ 62 h 62"/>
                <a:gd name="T42" fmla="*/ 62 w 213"/>
                <a:gd name="T43" fmla="*/ 62 h 62"/>
                <a:gd name="T44" fmla="*/ 43 w 213"/>
                <a:gd name="T45" fmla="*/ 59 h 62"/>
                <a:gd name="T46" fmla="*/ 33 w 213"/>
                <a:gd name="T47" fmla="*/ 59 h 62"/>
                <a:gd name="T48" fmla="*/ 23 w 213"/>
                <a:gd name="T49" fmla="*/ 59 h 62"/>
                <a:gd name="T50" fmla="*/ 12 w 213"/>
                <a:gd name="T51" fmla="*/ 60 h 62"/>
                <a:gd name="T52" fmla="*/ 0 w 213"/>
                <a:gd name="T53" fmla="*/ 62 h 62"/>
                <a:gd name="T54" fmla="*/ 6 w 213"/>
                <a:gd name="T55" fmla="*/ 50 h 62"/>
                <a:gd name="T56" fmla="*/ 11 w 213"/>
                <a:gd name="T57" fmla="*/ 39 h 62"/>
                <a:gd name="T58" fmla="*/ 17 w 213"/>
                <a:gd name="T59" fmla="*/ 29 h 62"/>
                <a:gd name="T60" fmla="*/ 23 w 213"/>
                <a:gd name="T61" fmla="*/ 20 h 62"/>
                <a:gd name="T62" fmla="*/ 27 w 213"/>
                <a:gd name="T63" fmla="*/ 16 h 62"/>
                <a:gd name="T64" fmla="*/ 30 w 213"/>
                <a:gd name="T65" fmla="*/ 12 h 62"/>
                <a:gd name="T66" fmla="*/ 34 w 213"/>
                <a:gd name="T67" fmla="*/ 9 h 62"/>
                <a:gd name="T68" fmla="*/ 39 w 213"/>
                <a:gd name="T69" fmla="*/ 6 h 62"/>
                <a:gd name="T70" fmla="*/ 43 w 213"/>
                <a:gd name="T71" fmla="*/ 3 h 62"/>
                <a:gd name="T72" fmla="*/ 49 w 213"/>
                <a:gd name="T73" fmla="*/ 1 h 62"/>
                <a:gd name="T74" fmla="*/ 54 w 213"/>
                <a:gd name="T75" fmla="*/ 0 h 62"/>
                <a:gd name="T76" fmla="*/ 61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5" name="Freeform 494">
              <a:extLst>
                <a:ext uri="{FF2B5EF4-FFF2-40B4-BE49-F238E27FC236}">
                  <a16:creationId xmlns="" xmlns:a16="http://schemas.microsoft.com/office/drawing/2014/main" id="{68B5DD70-E1CF-A64D-84E0-AF750C39DE55}"/>
                </a:ext>
              </a:extLst>
            </p:cNvPr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591175" y="1250950"/>
              <a:ext cx="103188" cy="60325"/>
            </a:xfrm>
            <a:custGeom>
              <a:avLst/>
              <a:gdLst>
                <a:gd name="T0" fmla="*/ 41 w 239"/>
                <a:gd name="T1" fmla="*/ 0 h 56"/>
                <a:gd name="T2" fmla="*/ 30 w 239"/>
                <a:gd name="T3" fmla="*/ 3 h 56"/>
                <a:gd name="T4" fmla="*/ 23 w 239"/>
                <a:gd name="T5" fmla="*/ 5 h 56"/>
                <a:gd name="T6" fmla="*/ 19 w 239"/>
                <a:gd name="T7" fmla="*/ 7 h 56"/>
                <a:gd name="T8" fmla="*/ 15 w 239"/>
                <a:gd name="T9" fmla="*/ 9 h 56"/>
                <a:gd name="T10" fmla="*/ 13 w 239"/>
                <a:gd name="T11" fmla="*/ 13 h 56"/>
                <a:gd name="T12" fmla="*/ 10 w 239"/>
                <a:gd name="T13" fmla="*/ 15 h 56"/>
                <a:gd name="T14" fmla="*/ 7 w 239"/>
                <a:gd name="T15" fmla="*/ 17 h 56"/>
                <a:gd name="T16" fmla="*/ 0 w 239"/>
                <a:gd name="T17" fmla="*/ 19 h 56"/>
                <a:gd name="T18" fmla="*/ 2 w 239"/>
                <a:gd name="T19" fmla="*/ 24 h 56"/>
                <a:gd name="T20" fmla="*/ 5 w 239"/>
                <a:gd name="T21" fmla="*/ 27 h 56"/>
                <a:gd name="T22" fmla="*/ 7 w 239"/>
                <a:gd name="T23" fmla="*/ 30 h 56"/>
                <a:gd name="T24" fmla="*/ 10 w 239"/>
                <a:gd name="T25" fmla="*/ 33 h 56"/>
                <a:gd name="T26" fmla="*/ 17 w 239"/>
                <a:gd name="T27" fmla="*/ 36 h 56"/>
                <a:gd name="T28" fmla="*/ 24 w 239"/>
                <a:gd name="T29" fmla="*/ 38 h 56"/>
                <a:gd name="T30" fmla="*/ 41 w 239"/>
                <a:gd name="T31" fmla="*/ 38 h 56"/>
                <a:gd name="T32" fmla="*/ 54 w 239"/>
                <a:gd name="T33" fmla="*/ 38 h 56"/>
                <a:gd name="T34" fmla="*/ 153 w 239"/>
                <a:gd name="T35" fmla="*/ 38 h 56"/>
                <a:gd name="T36" fmla="*/ 155 w 239"/>
                <a:gd name="T37" fmla="*/ 41 h 56"/>
                <a:gd name="T38" fmla="*/ 156 w 239"/>
                <a:gd name="T39" fmla="*/ 44 h 56"/>
                <a:gd name="T40" fmla="*/ 159 w 239"/>
                <a:gd name="T41" fmla="*/ 46 h 56"/>
                <a:gd name="T42" fmla="*/ 162 w 239"/>
                <a:gd name="T43" fmla="*/ 48 h 56"/>
                <a:gd name="T44" fmla="*/ 167 w 239"/>
                <a:gd name="T45" fmla="*/ 51 h 56"/>
                <a:gd name="T46" fmla="*/ 174 w 239"/>
                <a:gd name="T47" fmla="*/ 54 h 56"/>
                <a:gd name="T48" fmla="*/ 188 w 239"/>
                <a:gd name="T49" fmla="*/ 56 h 56"/>
                <a:gd name="T50" fmla="*/ 200 w 239"/>
                <a:gd name="T51" fmla="*/ 56 h 56"/>
                <a:gd name="T52" fmla="*/ 204 w 239"/>
                <a:gd name="T53" fmla="*/ 55 h 56"/>
                <a:gd name="T54" fmla="*/ 210 w 239"/>
                <a:gd name="T55" fmla="*/ 54 h 56"/>
                <a:gd name="T56" fmla="*/ 214 w 239"/>
                <a:gd name="T57" fmla="*/ 52 h 56"/>
                <a:gd name="T58" fmla="*/ 220 w 239"/>
                <a:gd name="T59" fmla="*/ 49 h 56"/>
                <a:gd name="T60" fmla="*/ 230 w 239"/>
                <a:gd name="T61" fmla="*/ 43 h 56"/>
                <a:gd name="T62" fmla="*/ 239 w 239"/>
                <a:gd name="T63" fmla="*/ 38 h 56"/>
                <a:gd name="T64" fmla="*/ 232 w 239"/>
                <a:gd name="T65" fmla="*/ 37 h 56"/>
                <a:gd name="T66" fmla="*/ 225 w 239"/>
                <a:gd name="T67" fmla="*/ 36 h 56"/>
                <a:gd name="T68" fmla="*/ 219 w 239"/>
                <a:gd name="T69" fmla="*/ 34 h 56"/>
                <a:gd name="T70" fmla="*/ 213 w 239"/>
                <a:gd name="T71" fmla="*/ 32 h 56"/>
                <a:gd name="T72" fmla="*/ 201 w 239"/>
                <a:gd name="T73" fmla="*/ 26 h 56"/>
                <a:gd name="T74" fmla="*/ 190 w 239"/>
                <a:gd name="T75" fmla="*/ 19 h 56"/>
                <a:gd name="T76" fmla="*/ 178 w 239"/>
                <a:gd name="T77" fmla="*/ 13 h 56"/>
                <a:gd name="T78" fmla="*/ 167 w 239"/>
                <a:gd name="T79" fmla="*/ 6 h 56"/>
                <a:gd name="T80" fmla="*/ 160 w 239"/>
                <a:gd name="T81" fmla="*/ 4 h 56"/>
                <a:gd name="T82" fmla="*/ 154 w 239"/>
                <a:gd name="T83" fmla="*/ 2 h 56"/>
                <a:gd name="T84" fmla="*/ 147 w 239"/>
                <a:gd name="T85" fmla="*/ 1 h 56"/>
                <a:gd name="T86" fmla="*/ 140 w 239"/>
                <a:gd name="T87" fmla="*/ 0 h 56"/>
                <a:gd name="T88" fmla="*/ 134 w 239"/>
                <a:gd name="T89" fmla="*/ 1 h 56"/>
                <a:gd name="T90" fmla="*/ 127 w 239"/>
                <a:gd name="T91" fmla="*/ 4 h 56"/>
                <a:gd name="T92" fmla="*/ 124 w 239"/>
                <a:gd name="T93" fmla="*/ 6 h 56"/>
                <a:gd name="T94" fmla="*/ 122 w 239"/>
                <a:gd name="T95" fmla="*/ 8 h 56"/>
                <a:gd name="T96" fmla="*/ 121 w 239"/>
                <a:gd name="T97" fmla="*/ 10 h 56"/>
                <a:gd name="T98" fmla="*/ 120 w 239"/>
                <a:gd name="T99" fmla="*/ 13 h 56"/>
                <a:gd name="T100" fmla="*/ 100 w 239"/>
                <a:gd name="T101" fmla="*/ 8 h 56"/>
                <a:gd name="T102" fmla="*/ 80 w 239"/>
                <a:gd name="T103" fmla="*/ 4 h 56"/>
                <a:gd name="T104" fmla="*/ 61 w 239"/>
                <a:gd name="T105" fmla="*/ 1 h 56"/>
                <a:gd name="T106" fmla="*/ 41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6" name="Freeform 495">
              <a:extLst>
                <a:ext uri="{FF2B5EF4-FFF2-40B4-BE49-F238E27FC236}">
                  <a16:creationId xmlns="" xmlns:a16="http://schemas.microsoft.com/office/drawing/2014/main" id="{3EED5BCD-75AC-E84E-BCD6-E01D9FBA0481}"/>
                </a:ext>
              </a:extLst>
            </p:cNvPr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708650" y="1265238"/>
              <a:ext cx="82550" cy="57150"/>
            </a:xfrm>
            <a:custGeom>
              <a:avLst/>
              <a:gdLst>
                <a:gd name="T0" fmla="*/ 14 w 187"/>
                <a:gd name="T1" fmla="*/ 19 h 80"/>
                <a:gd name="T2" fmla="*/ 41 w 187"/>
                <a:gd name="T3" fmla="*/ 0 h 80"/>
                <a:gd name="T4" fmla="*/ 44 w 187"/>
                <a:gd name="T5" fmla="*/ 3 h 80"/>
                <a:gd name="T6" fmla="*/ 50 w 187"/>
                <a:gd name="T7" fmla="*/ 6 h 80"/>
                <a:gd name="T8" fmla="*/ 58 w 187"/>
                <a:gd name="T9" fmla="*/ 9 h 80"/>
                <a:gd name="T10" fmla="*/ 67 w 187"/>
                <a:gd name="T11" fmla="*/ 12 h 80"/>
                <a:gd name="T12" fmla="*/ 89 w 187"/>
                <a:gd name="T13" fmla="*/ 19 h 80"/>
                <a:gd name="T14" fmla="*/ 114 w 187"/>
                <a:gd name="T15" fmla="*/ 26 h 80"/>
                <a:gd name="T16" fmla="*/ 139 w 187"/>
                <a:gd name="T17" fmla="*/ 33 h 80"/>
                <a:gd name="T18" fmla="*/ 161 w 187"/>
                <a:gd name="T19" fmla="*/ 38 h 80"/>
                <a:gd name="T20" fmla="*/ 177 w 187"/>
                <a:gd name="T21" fmla="*/ 42 h 80"/>
                <a:gd name="T22" fmla="*/ 187 w 187"/>
                <a:gd name="T23" fmla="*/ 43 h 80"/>
                <a:gd name="T24" fmla="*/ 187 w 187"/>
                <a:gd name="T25" fmla="*/ 56 h 80"/>
                <a:gd name="T26" fmla="*/ 187 w 187"/>
                <a:gd name="T27" fmla="*/ 68 h 80"/>
                <a:gd name="T28" fmla="*/ 170 w 187"/>
                <a:gd name="T29" fmla="*/ 70 h 80"/>
                <a:gd name="T30" fmla="*/ 151 w 187"/>
                <a:gd name="T31" fmla="*/ 71 h 80"/>
                <a:gd name="T32" fmla="*/ 133 w 187"/>
                <a:gd name="T33" fmla="*/ 71 h 80"/>
                <a:gd name="T34" fmla="*/ 116 w 187"/>
                <a:gd name="T35" fmla="*/ 70 h 80"/>
                <a:gd name="T36" fmla="*/ 85 w 187"/>
                <a:gd name="T37" fmla="*/ 69 h 80"/>
                <a:gd name="T38" fmla="*/ 61 w 187"/>
                <a:gd name="T39" fmla="*/ 68 h 80"/>
                <a:gd name="T40" fmla="*/ 55 w 187"/>
                <a:gd name="T41" fmla="*/ 69 h 80"/>
                <a:gd name="T42" fmla="*/ 51 w 187"/>
                <a:gd name="T43" fmla="*/ 70 h 80"/>
                <a:gd name="T44" fmla="*/ 45 w 187"/>
                <a:gd name="T45" fmla="*/ 72 h 80"/>
                <a:gd name="T46" fmla="*/ 41 w 187"/>
                <a:gd name="T47" fmla="*/ 74 h 80"/>
                <a:gd name="T48" fmla="*/ 33 w 187"/>
                <a:gd name="T49" fmla="*/ 78 h 80"/>
                <a:gd name="T50" fmla="*/ 28 w 187"/>
                <a:gd name="T51" fmla="*/ 80 h 80"/>
                <a:gd name="T52" fmla="*/ 22 w 187"/>
                <a:gd name="T53" fmla="*/ 79 h 80"/>
                <a:gd name="T54" fmla="*/ 18 w 187"/>
                <a:gd name="T55" fmla="*/ 76 h 80"/>
                <a:gd name="T56" fmla="*/ 14 w 187"/>
                <a:gd name="T57" fmla="*/ 72 h 80"/>
                <a:gd name="T58" fmla="*/ 9 w 187"/>
                <a:gd name="T59" fmla="*/ 67 h 80"/>
                <a:gd name="T60" fmla="*/ 6 w 187"/>
                <a:gd name="T61" fmla="*/ 62 h 80"/>
                <a:gd name="T62" fmla="*/ 3 w 187"/>
                <a:gd name="T63" fmla="*/ 57 h 80"/>
                <a:gd name="T64" fmla="*/ 2 w 187"/>
                <a:gd name="T65" fmla="*/ 53 h 80"/>
                <a:gd name="T66" fmla="*/ 0 w 187"/>
                <a:gd name="T67" fmla="*/ 50 h 80"/>
                <a:gd name="T68" fmla="*/ 2 w 187"/>
                <a:gd name="T69" fmla="*/ 44 h 80"/>
                <a:gd name="T70" fmla="*/ 3 w 187"/>
                <a:gd name="T71" fmla="*/ 40 h 80"/>
                <a:gd name="T72" fmla="*/ 5 w 187"/>
                <a:gd name="T73" fmla="*/ 36 h 80"/>
                <a:gd name="T74" fmla="*/ 7 w 187"/>
                <a:gd name="T75" fmla="*/ 31 h 80"/>
                <a:gd name="T76" fmla="*/ 13 w 187"/>
                <a:gd name="T77" fmla="*/ 24 h 80"/>
                <a:gd name="T78" fmla="*/ 14 w 187"/>
                <a:gd name="T79" fmla="*/ 19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7" name="Freeform 496">
              <a:extLst>
                <a:ext uri="{FF2B5EF4-FFF2-40B4-BE49-F238E27FC236}">
                  <a16:creationId xmlns="" xmlns:a16="http://schemas.microsoft.com/office/drawing/2014/main" id="{783A382F-2DD9-544B-9C84-2F114E77125A}"/>
                </a:ext>
              </a:extLst>
            </p:cNvPr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6235700" y="1390650"/>
              <a:ext cx="79375" cy="58738"/>
            </a:xfrm>
            <a:custGeom>
              <a:avLst/>
              <a:gdLst>
                <a:gd name="T0" fmla="*/ 50 w 183"/>
                <a:gd name="T1" fmla="*/ 0 h 73"/>
                <a:gd name="T2" fmla="*/ 63 w 183"/>
                <a:gd name="T3" fmla="*/ 0 h 73"/>
                <a:gd name="T4" fmla="*/ 75 w 183"/>
                <a:gd name="T5" fmla="*/ 1 h 73"/>
                <a:gd name="T6" fmla="*/ 86 w 183"/>
                <a:gd name="T7" fmla="*/ 4 h 73"/>
                <a:gd name="T8" fmla="*/ 97 w 183"/>
                <a:gd name="T9" fmla="*/ 7 h 73"/>
                <a:gd name="T10" fmla="*/ 106 w 183"/>
                <a:gd name="T11" fmla="*/ 10 h 73"/>
                <a:gd name="T12" fmla="*/ 116 w 183"/>
                <a:gd name="T13" fmla="*/ 15 h 73"/>
                <a:gd name="T14" fmla="*/ 124 w 183"/>
                <a:gd name="T15" fmla="*/ 19 h 73"/>
                <a:gd name="T16" fmla="*/ 131 w 183"/>
                <a:gd name="T17" fmla="*/ 25 h 73"/>
                <a:gd name="T18" fmla="*/ 159 w 183"/>
                <a:gd name="T19" fmla="*/ 49 h 73"/>
                <a:gd name="T20" fmla="*/ 183 w 183"/>
                <a:gd name="T21" fmla="*/ 73 h 73"/>
                <a:gd name="T22" fmla="*/ 137 w 183"/>
                <a:gd name="T23" fmla="*/ 73 h 73"/>
                <a:gd name="T24" fmla="*/ 128 w 183"/>
                <a:gd name="T25" fmla="*/ 72 h 73"/>
                <a:gd name="T26" fmla="*/ 117 w 183"/>
                <a:gd name="T27" fmla="*/ 70 h 73"/>
                <a:gd name="T28" fmla="*/ 104 w 183"/>
                <a:gd name="T29" fmla="*/ 66 h 73"/>
                <a:gd name="T30" fmla="*/ 90 w 183"/>
                <a:gd name="T31" fmla="*/ 62 h 73"/>
                <a:gd name="T32" fmla="*/ 73 w 183"/>
                <a:gd name="T33" fmla="*/ 56 h 73"/>
                <a:gd name="T34" fmla="*/ 58 w 183"/>
                <a:gd name="T35" fmla="*/ 50 h 73"/>
                <a:gd name="T36" fmla="*/ 42 w 183"/>
                <a:gd name="T37" fmla="*/ 44 h 73"/>
                <a:gd name="T38" fmla="*/ 28 w 183"/>
                <a:gd name="T39" fmla="*/ 37 h 73"/>
                <a:gd name="T40" fmla="*/ 16 w 183"/>
                <a:gd name="T41" fmla="*/ 30 h 73"/>
                <a:gd name="T42" fmla="*/ 7 w 183"/>
                <a:gd name="T43" fmla="*/ 23 h 73"/>
                <a:gd name="T44" fmla="*/ 4 w 183"/>
                <a:gd name="T45" fmla="*/ 19 h 73"/>
                <a:gd name="T46" fmla="*/ 2 w 183"/>
                <a:gd name="T47" fmla="*/ 16 h 73"/>
                <a:gd name="T48" fmla="*/ 1 w 183"/>
                <a:gd name="T49" fmla="*/ 14 h 73"/>
                <a:gd name="T50" fmla="*/ 0 w 183"/>
                <a:gd name="T51" fmla="*/ 11 h 73"/>
                <a:gd name="T52" fmla="*/ 1 w 183"/>
                <a:gd name="T53" fmla="*/ 8 h 73"/>
                <a:gd name="T54" fmla="*/ 3 w 183"/>
                <a:gd name="T55" fmla="*/ 6 h 73"/>
                <a:gd name="T56" fmla="*/ 7 w 183"/>
                <a:gd name="T57" fmla="*/ 4 h 73"/>
                <a:gd name="T58" fmla="*/ 13 w 183"/>
                <a:gd name="T59" fmla="*/ 3 h 73"/>
                <a:gd name="T60" fmla="*/ 19 w 183"/>
                <a:gd name="T61" fmla="*/ 1 h 73"/>
                <a:gd name="T62" fmla="*/ 28 w 183"/>
                <a:gd name="T63" fmla="*/ 0 h 73"/>
                <a:gd name="T64" fmla="*/ 38 w 183"/>
                <a:gd name="T65" fmla="*/ 0 h 73"/>
                <a:gd name="T66" fmla="*/ 50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8" name="Freeform 497">
              <a:extLst>
                <a:ext uri="{FF2B5EF4-FFF2-40B4-BE49-F238E27FC236}">
                  <a16:creationId xmlns="" xmlns:a16="http://schemas.microsoft.com/office/drawing/2014/main" id="{4F793917-8E9D-CE48-8604-DF5ED219EB85}"/>
                </a:ext>
              </a:extLst>
            </p:cNvPr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6302375" y="1408113"/>
              <a:ext cx="33338" cy="57150"/>
            </a:xfrm>
            <a:custGeom>
              <a:avLst/>
              <a:gdLst>
                <a:gd name="T0" fmla="*/ 0 w 79"/>
                <a:gd name="T1" fmla="*/ 6 h 42"/>
                <a:gd name="T2" fmla="*/ 23 w 79"/>
                <a:gd name="T3" fmla="*/ 2 h 42"/>
                <a:gd name="T4" fmla="*/ 41 w 79"/>
                <a:gd name="T5" fmla="*/ 1 h 42"/>
                <a:gd name="T6" fmla="*/ 60 w 79"/>
                <a:gd name="T7" fmla="*/ 0 h 42"/>
                <a:gd name="T8" fmla="*/ 79 w 79"/>
                <a:gd name="T9" fmla="*/ 0 h 42"/>
                <a:gd name="T10" fmla="*/ 79 w 79"/>
                <a:gd name="T11" fmla="*/ 9 h 42"/>
                <a:gd name="T12" fmla="*/ 79 w 79"/>
                <a:gd name="T13" fmla="*/ 18 h 42"/>
                <a:gd name="T14" fmla="*/ 79 w 79"/>
                <a:gd name="T15" fmla="*/ 22 h 42"/>
                <a:gd name="T16" fmla="*/ 75 w 79"/>
                <a:gd name="T17" fmla="*/ 27 h 42"/>
                <a:gd name="T18" fmla="*/ 72 w 79"/>
                <a:gd name="T19" fmla="*/ 31 h 42"/>
                <a:gd name="T20" fmla="*/ 68 w 79"/>
                <a:gd name="T21" fmla="*/ 35 h 42"/>
                <a:gd name="T22" fmla="*/ 62 w 79"/>
                <a:gd name="T23" fmla="*/ 38 h 42"/>
                <a:gd name="T24" fmla="*/ 57 w 79"/>
                <a:gd name="T25" fmla="*/ 40 h 42"/>
                <a:gd name="T26" fmla="*/ 51 w 79"/>
                <a:gd name="T27" fmla="*/ 42 h 42"/>
                <a:gd name="T28" fmla="*/ 46 w 79"/>
                <a:gd name="T29" fmla="*/ 42 h 42"/>
                <a:gd name="T30" fmla="*/ 40 w 79"/>
                <a:gd name="T31" fmla="*/ 42 h 42"/>
                <a:gd name="T32" fmla="*/ 35 w 79"/>
                <a:gd name="T33" fmla="*/ 41 h 42"/>
                <a:gd name="T34" fmla="*/ 29 w 79"/>
                <a:gd name="T35" fmla="*/ 39 h 42"/>
                <a:gd name="T36" fmla="*/ 25 w 79"/>
                <a:gd name="T37" fmla="*/ 37 h 42"/>
                <a:gd name="T38" fmla="*/ 16 w 79"/>
                <a:gd name="T39" fmla="*/ 32 h 42"/>
                <a:gd name="T40" fmla="*/ 11 w 79"/>
                <a:gd name="T41" fmla="*/ 26 h 42"/>
                <a:gd name="T42" fmla="*/ 5 w 79"/>
                <a:gd name="T43" fmla="*/ 20 h 42"/>
                <a:gd name="T44" fmla="*/ 2 w 79"/>
                <a:gd name="T45" fmla="*/ 14 h 42"/>
                <a:gd name="T46" fmla="*/ 0 w 79"/>
                <a:gd name="T47" fmla="*/ 9 h 42"/>
                <a:gd name="T48" fmla="*/ 0 w 79"/>
                <a:gd name="T49" fmla="*/ 6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19" name="Freeform 498">
              <a:extLst>
                <a:ext uri="{FF2B5EF4-FFF2-40B4-BE49-F238E27FC236}">
                  <a16:creationId xmlns="" xmlns:a16="http://schemas.microsoft.com/office/drawing/2014/main" id="{CCAFAA1A-C826-A34B-9AF3-D6A555F73C91}"/>
                </a:ext>
              </a:extLst>
            </p:cNvPr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6332538" y="1419225"/>
              <a:ext cx="52387" cy="587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0" name="Freeform 499">
              <a:extLst>
                <a:ext uri="{FF2B5EF4-FFF2-40B4-BE49-F238E27FC236}">
                  <a16:creationId xmlns="" xmlns:a16="http://schemas.microsoft.com/office/drawing/2014/main" id="{A7F5C0D5-690D-F044-B40F-615E7C8669EA}"/>
                </a:ext>
              </a:extLst>
            </p:cNvPr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6103938" y="1392238"/>
              <a:ext cx="61912" cy="58737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1" name="Freeform 500">
              <a:extLst>
                <a:ext uri="{FF2B5EF4-FFF2-40B4-BE49-F238E27FC236}">
                  <a16:creationId xmlns="" xmlns:a16="http://schemas.microsoft.com/office/drawing/2014/main" id="{34AAC5BB-A92E-DE4C-8AE9-0391F9441194}"/>
                </a:ext>
              </a:extLst>
            </p:cNvPr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403975" y="1333500"/>
              <a:ext cx="139700" cy="57150"/>
            </a:xfrm>
            <a:custGeom>
              <a:avLst/>
              <a:gdLst>
                <a:gd name="T0" fmla="*/ 10 w 325"/>
                <a:gd name="T1" fmla="*/ 7 h 71"/>
                <a:gd name="T2" fmla="*/ 31 w 325"/>
                <a:gd name="T3" fmla="*/ 1 h 71"/>
                <a:gd name="T4" fmla="*/ 53 w 325"/>
                <a:gd name="T5" fmla="*/ 0 h 71"/>
                <a:gd name="T6" fmla="*/ 73 w 325"/>
                <a:gd name="T7" fmla="*/ 4 h 71"/>
                <a:gd name="T8" fmla="*/ 92 w 325"/>
                <a:gd name="T9" fmla="*/ 10 h 71"/>
                <a:gd name="T10" fmla="*/ 110 w 325"/>
                <a:gd name="T11" fmla="*/ 18 h 71"/>
                <a:gd name="T12" fmla="*/ 122 w 325"/>
                <a:gd name="T13" fmla="*/ 29 h 71"/>
                <a:gd name="T14" fmla="*/ 130 w 325"/>
                <a:gd name="T15" fmla="*/ 38 h 71"/>
                <a:gd name="T16" fmla="*/ 136 w 325"/>
                <a:gd name="T17" fmla="*/ 34 h 71"/>
                <a:gd name="T18" fmla="*/ 139 w 325"/>
                <a:gd name="T19" fmla="*/ 15 h 71"/>
                <a:gd name="T20" fmla="*/ 161 w 325"/>
                <a:gd name="T21" fmla="*/ 7 h 71"/>
                <a:gd name="T22" fmla="*/ 216 w 325"/>
                <a:gd name="T23" fmla="*/ 13 h 71"/>
                <a:gd name="T24" fmla="*/ 258 w 325"/>
                <a:gd name="T25" fmla="*/ 23 h 71"/>
                <a:gd name="T26" fmla="*/ 283 w 325"/>
                <a:gd name="T27" fmla="*/ 32 h 71"/>
                <a:gd name="T28" fmla="*/ 305 w 325"/>
                <a:gd name="T29" fmla="*/ 43 h 71"/>
                <a:gd name="T30" fmla="*/ 320 w 325"/>
                <a:gd name="T31" fmla="*/ 55 h 71"/>
                <a:gd name="T32" fmla="*/ 316 w 325"/>
                <a:gd name="T33" fmla="*/ 64 h 71"/>
                <a:gd name="T34" fmla="*/ 294 w 325"/>
                <a:gd name="T35" fmla="*/ 68 h 71"/>
                <a:gd name="T36" fmla="*/ 259 w 325"/>
                <a:gd name="T37" fmla="*/ 71 h 71"/>
                <a:gd name="T38" fmla="*/ 210 w 325"/>
                <a:gd name="T39" fmla="*/ 70 h 71"/>
                <a:gd name="T40" fmla="*/ 167 w 325"/>
                <a:gd name="T41" fmla="*/ 68 h 71"/>
                <a:gd name="T42" fmla="*/ 133 w 325"/>
                <a:gd name="T43" fmla="*/ 69 h 71"/>
                <a:gd name="T44" fmla="*/ 90 w 325"/>
                <a:gd name="T45" fmla="*/ 71 h 71"/>
                <a:gd name="T46" fmla="*/ 72 w 325"/>
                <a:gd name="T47" fmla="*/ 68 h 71"/>
                <a:gd name="T48" fmla="*/ 67 w 325"/>
                <a:gd name="T49" fmla="*/ 64 h 71"/>
                <a:gd name="T50" fmla="*/ 58 w 325"/>
                <a:gd name="T51" fmla="*/ 61 h 71"/>
                <a:gd name="T52" fmla="*/ 46 w 325"/>
                <a:gd name="T53" fmla="*/ 59 h 71"/>
                <a:gd name="T54" fmla="*/ 35 w 325"/>
                <a:gd name="T55" fmla="*/ 53 h 71"/>
                <a:gd name="T56" fmla="*/ 25 w 325"/>
                <a:gd name="T57" fmla="*/ 45 h 71"/>
                <a:gd name="T58" fmla="*/ 16 w 325"/>
                <a:gd name="T59" fmla="*/ 39 h 71"/>
                <a:gd name="T60" fmla="*/ 6 w 325"/>
                <a:gd name="T61" fmla="*/ 37 h 71"/>
                <a:gd name="T62" fmla="*/ 0 w 325"/>
                <a:gd name="T63" fmla="*/ 22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2" name="Freeform 501">
              <a:extLst>
                <a:ext uri="{FF2B5EF4-FFF2-40B4-BE49-F238E27FC236}">
                  <a16:creationId xmlns="" xmlns:a16="http://schemas.microsoft.com/office/drawing/2014/main" id="{620FFE1E-63DD-C940-ACF7-4AB2C9C0C3D5}"/>
                </a:ext>
              </a:extLst>
            </p:cNvPr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564313" y="1341438"/>
              <a:ext cx="95250" cy="57150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3" name="Freeform 502">
              <a:extLst>
                <a:ext uri="{FF2B5EF4-FFF2-40B4-BE49-F238E27FC236}">
                  <a16:creationId xmlns="" xmlns:a16="http://schemas.microsoft.com/office/drawing/2014/main" id="{E2E844C6-C68E-1A4B-838D-5E87DF202201}"/>
                </a:ext>
              </a:extLst>
            </p:cNvPr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524625" y="1389063"/>
              <a:ext cx="63500" cy="58737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4" name="Freeform 503">
              <a:extLst>
                <a:ext uri="{FF2B5EF4-FFF2-40B4-BE49-F238E27FC236}">
                  <a16:creationId xmlns="" xmlns:a16="http://schemas.microsoft.com/office/drawing/2014/main" id="{9D6884DC-E0B0-6343-B823-47A345209AA0}"/>
                </a:ext>
              </a:extLst>
            </p:cNvPr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6503988" y="1385888"/>
              <a:ext cx="20637" cy="58737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5" name="Line 504">
              <a:extLst>
                <a:ext uri="{FF2B5EF4-FFF2-40B4-BE49-F238E27FC236}">
                  <a16:creationId xmlns="" xmlns:a16="http://schemas.microsoft.com/office/drawing/2014/main" id="{D8DEC100-FC29-304C-9190-FB2C37A6ADE9}"/>
                </a:ext>
              </a:extLst>
            </p:cNvPr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6505575" y="1384300"/>
              <a:ext cx="0" cy="158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26" name="Freeform 505">
              <a:extLst>
                <a:ext uri="{FF2B5EF4-FFF2-40B4-BE49-F238E27FC236}">
                  <a16:creationId xmlns="" xmlns:a16="http://schemas.microsoft.com/office/drawing/2014/main" id="{C8D9FE9A-D9A2-0040-A57F-064E87567F59}"/>
                </a:ext>
              </a:extLst>
            </p:cNvPr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5675313" y="1312863"/>
              <a:ext cx="11112" cy="55562"/>
            </a:xfrm>
            <a:custGeom>
              <a:avLst/>
              <a:gdLst>
                <a:gd name="T0" fmla="*/ 0 w 26"/>
                <a:gd name="T1" fmla="*/ 25 h 25"/>
                <a:gd name="T2" fmla="*/ 5 w 26"/>
                <a:gd name="T3" fmla="*/ 17 h 25"/>
                <a:gd name="T4" fmla="*/ 13 w 26"/>
                <a:gd name="T5" fmla="*/ 8 h 25"/>
                <a:gd name="T6" fmla="*/ 16 w 26"/>
                <a:gd name="T7" fmla="*/ 5 h 25"/>
                <a:gd name="T8" fmla="*/ 20 w 26"/>
                <a:gd name="T9" fmla="*/ 2 h 25"/>
                <a:gd name="T10" fmla="*/ 23 w 26"/>
                <a:gd name="T11" fmla="*/ 1 h 25"/>
                <a:gd name="T12" fmla="*/ 26 w 26"/>
                <a:gd name="T13" fmla="*/ 0 h 25"/>
                <a:gd name="T14" fmla="*/ 26 w 26"/>
                <a:gd name="T15" fmla="*/ 25 h 25"/>
                <a:gd name="T16" fmla="*/ 20 w 26"/>
                <a:gd name="T17" fmla="*/ 25 h 25"/>
                <a:gd name="T18" fmla="*/ 13 w 26"/>
                <a:gd name="T19" fmla="*/ 25 h 25"/>
                <a:gd name="T20" fmla="*/ 0 w 26"/>
                <a:gd name="T21" fmla="*/ 25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7" name="Freeform 506">
              <a:extLst>
                <a:ext uri="{FF2B5EF4-FFF2-40B4-BE49-F238E27FC236}">
                  <a16:creationId xmlns="" xmlns:a16="http://schemas.microsoft.com/office/drawing/2014/main" id="{7A7D53D0-D4A4-BC4E-8816-5B839E2742FD}"/>
                </a:ext>
              </a:extLst>
            </p:cNvPr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6424613" y="1384300"/>
              <a:ext cx="9525" cy="57150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8" name="Freeform 507">
              <a:extLst>
                <a:ext uri="{FF2B5EF4-FFF2-40B4-BE49-F238E27FC236}">
                  <a16:creationId xmlns="" xmlns:a16="http://schemas.microsoft.com/office/drawing/2014/main" id="{3EF8EBBE-FC65-E64C-B6A5-44E23A75F14B}"/>
                </a:ext>
              </a:extLst>
            </p:cNvPr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6378575" y="1347788"/>
              <a:ext cx="9525" cy="57150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9" name="Freeform 508">
              <a:extLst>
                <a:ext uri="{FF2B5EF4-FFF2-40B4-BE49-F238E27FC236}">
                  <a16:creationId xmlns="" xmlns:a16="http://schemas.microsoft.com/office/drawing/2014/main" id="{DF36F9AF-B63A-7C4C-9908-5138618B612F}"/>
                </a:ext>
              </a:extLst>
            </p:cNvPr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6878638" y="1917700"/>
              <a:ext cx="12700" cy="58738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0" name="Freeform 509">
              <a:extLst>
                <a:ext uri="{FF2B5EF4-FFF2-40B4-BE49-F238E27FC236}">
                  <a16:creationId xmlns="" xmlns:a16="http://schemas.microsoft.com/office/drawing/2014/main" id="{59B363E4-1D75-754D-B6C0-9D6D4C7B095C}"/>
                </a:ext>
              </a:extLst>
            </p:cNvPr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7172325" y="1439863"/>
              <a:ext cx="55563" cy="58737"/>
            </a:xfrm>
            <a:custGeom>
              <a:avLst/>
              <a:gdLst>
                <a:gd name="T0" fmla="*/ 3 w 129"/>
                <a:gd name="T1" fmla="*/ 44 h 56"/>
                <a:gd name="T2" fmla="*/ 1 w 129"/>
                <a:gd name="T3" fmla="*/ 42 h 56"/>
                <a:gd name="T4" fmla="*/ 1 w 129"/>
                <a:gd name="T5" fmla="*/ 40 h 56"/>
                <a:gd name="T6" fmla="*/ 0 w 129"/>
                <a:gd name="T7" fmla="*/ 37 h 56"/>
                <a:gd name="T8" fmla="*/ 1 w 129"/>
                <a:gd name="T9" fmla="*/ 33 h 56"/>
                <a:gd name="T10" fmla="*/ 2 w 129"/>
                <a:gd name="T11" fmla="*/ 25 h 56"/>
                <a:gd name="T12" fmla="*/ 3 w 129"/>
                <a:gd name="T13" fmla="*/ 18 h 56"/>
                <a:gd name="T14" fmla="*/ 9 w 129"/>
                <a:gd name="T15" fmla="*/ 13 h 56"/>
                <a:gd name="T16" fmla="*/ 16 w 129"/>
                <a:gd name="T17" fmla="*/ 9 h 56"/>
                <a:gd name="T18" fmla="*/ 21 w 129"/>
                <a:gd name="T19" fmla="*/ 6 h 56"/>
                <a:gd name="T20" fmla="*/ 27 w 129"/>
                <a:gd name="T21" fmla="*/ 5 h 56"/>
                <a:gd name="T22" fmla="*/ 39 w 129"/>
                <a:gd name="T23" fmla="*/ 3 h 56"/>
                <a:gd name="T24" fmla="*/ 57 w 129"/>
                <a:gd name="T25" fmla="*/ 0 h 56"/>
                <a:gd name="T26" fmla="*/ 60 w 129"/>
                <a:gd name="T27" fmla="*/ 5 h 56"/>
                <a:gd name="T28" fmla="*/ 64 w 129"/>
                <a:gd name="T29" fmla="*/ 8 h 56"/>
                <a:gd name="T30" fmla="*/ 69 w 129"/>
                <a:gd name="T31" fmla="*/ 11 h 56"/>
                <a:gd name="T32" fmla="*/ 73 w 129"/>
                <a:gd name="T33" fmla="*/ 14 h 56"/>
                <a:gd name="T34" fmla="*/ 83 w 129"/>
                <a:gd name="T35" fmla="*/ 18 h 56"/>
                <a:gd name="T36" fmla="*/ 93 w 129"/>
                <a:gd name="T37" fmla="*/ 21 h 56"/>
                <a:gd name="T38" fmla="*/ 103 w 129"/>
                <a:gd name="T39" fmla="*/ 25 h 56"/>
                <a:gd name="T40" fmla="*/ 113 w 129"/>
                <a:gd name="T41" fmla="*/ 29 h 56"/>
                <a:gd name="T42" fmla="*/ 117 w 129"/>
                <a:gd name="T43" fmla="*/ 32 h 56"/>
                <a:gd name="T44" fmla="*/ 121 w 129"/>
                <a:gd name="T45" fmla="*/ 35 h 56"/>
                <a:gd name="T46" fmla="*/ 126 w 129"/>
                <a:gd name="T47" fmla="*/ 38 h 56"/>
                <a:gd name="T48" fmla="*/ 129 w 129"/>
                <a:gd name="T49" fmla="*/ 44 h 56"/>
                <a:gd name="T50" fmla="*/ 119 w 129"/>
                <a:gd name="T51" fmla="*/ 48 h 56"/>
                <a:gd name="T52" fmla="*/ 109 w 129"/>
                <a:gd name="T53" fmla="*/ 51 h 56"/>
                <a:gd name="T54" fmla="*/ 99 w 129"/>
                <a:gd name="T55" fmla="*/ 53 h 56"/>
                <a:gd name="T56" fmla="*/ 90 w 129"/>
                <a:gd name="T57" fmla="*/ 54 h 56"/>
                <a:gd name="T58" fmla="*/ 70 w 129"/>
                <a:gd name="T59" fmla="*/ 56 h 56"/>
                <a:gd name="T60" fmla="*/ 49 w 129"/>
                <a:gd name="T61" fmla="*/ 56 h 56"/>
                <a:gd name="T62" fmla="*/ 40 w 129"/>
                <a:gd name="T63" fmla="*/ 55 h 56"/>
                <a:gd name="T64" fmla="*/ 31 w 129"/>
                <a:gd name="T65" fmla="*/ 54 h 56"/>
                <a:gd name="T66" fmla="*/ 23 w 129"/>
                <a:gd name="T67" fmla="*/ 52 h 56"/>
                <a:gd name="T68" fmla="*/ 16 w 129"/>
                <a:gd name="T69" fmla="*/ 50 h 56"/>
                <a:gd name="T70" fmla="*/ 6 w 129"/>
                <a:gd name="T71" fmla="*/ 46 h 56"/>
                <a:gd name="T72" fmla="*/ 3 w 129"/>
                <a:gd name="T73" fmla="*/ 44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1" name="Freeform 510">
              <a:extLst>
                <a:ext uri="{FF2B5EF4-FFF2-40B4-BE49-F238E27FC236}">
                  <a16:creationId xmlns="" xmlns:a16="http://schemas.microsoft.com/office/drawing/2014/main" id="{2E66111E-3433-A94F-90FD-FA1D9EBA89DF}"/>
                </a:ext>
              </a:extLst>
            </p:cNvPr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7308850" y="1792288"/>
              <a:ext cx="14288" cy="57150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2" name="Freeform 511">
              <a:extLst>
                <a:ext uri="{FF2B5EF4-FFF2-40B4-BE49-F238E27FC236}">
                  <a16:creationId xmlns="" xmlns:a16="http://schemas.microsoft.com/office/drawing/2014/main" id="{703BFDE2-311D-3943-ABD9-E03BECDC50CD}"/>
                </a:ext>
              </a:extLst>
            </p:cNvPr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7458075" y="1905000"/>
              <a:ext cx="42863" cy="603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3" name="Freeform 512">
              <a:extLst>
                <a:ext uri="{FF2B5EF4-FFF2-40B4-BE49-F238E27FC236}">
                  <a16:creationId xmlns="" xmlns:a16="http://schemas.microsoft.com/office/drawing/2014/main" id="{F9FE5008-79A3-5844-86AC-B90AF0A1E83E}"/>
                </a:ext>
              </a:extLst>
            </p:cNvPr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7508875" y="1920875"/>
              <a:ext cx="19050" cy="58738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4" name="Freeform 513">
              <a:extLst>
                <a:ext uri="{FF2B5EF4-FFF2-40B4-BE49-F238E27FC236}">
                  <a16:creationId xmlns="" xmlns:a16="http://schemas.microsoft.com/office/drawing/2014/main" id="{7CCE4DE8-952B-D54E-93C2-66A9B745DD8A}"/>
                </a:ext>
              </a:extLst>
            </p:cNvPr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7373938" y="2047875"/>
              <a:ext cx="14287" cy="57150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5" name="Freeform 514">
              <a:extLst>
                <a:ext uri="{FF2B5EF4-FFF2-40B4-BE49-F238E27FC236}">
                  <a16:creationId xmlns="" xmlns:a16="http://schemas.microsoft.com/office/drawing/2014/main" id="{6A693C65-8C20-1B48-8E17-348DC133207E}"/>
                </a:ext>
              </a:extLst>
            </p:cNvPr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7385050" y="2076450"/>
              <a:ext cx="3175" cy="603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6" name="Freeform 515">
              <a:extLst>
                <a:ext uri="{FF2B5EF4-FFF2-40B4-BE49-F238E27FC236}">
                  <a16:creationId xmlns="" xmlns:a16="http://schemas.microsoft.com/office/drawing/2014/main" id="{1B2AF379-6570-E14C-8285-8E6249AD590B}"/>
                </a:ext>
              </a:extLst>
            </p:cNvPr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7372350" y="2159000"/>
              <a:ext cx="9525" cy="55563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7" name="Freeform 516">
              <a:extLst>
                <a:ext uri="{FF2B5EF4-FFF2-40B4-BE49-F238E27FC236}">
                  <a16:creationId xmlns="" xmlns:a16="http://schemas.microsoft.com/office/drawing/2014/main" id="{24D5C01F-426E-EB44-9A9F-8EA255534C13}"/>
                </a:ext>
              </a:extLst>
            </p:cNvPr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350125" y="2193925"/>
              <a:ext cx="0" cy="58738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</a:gdLst>
              <a:ahLst/>
              <a:cxnLst>
                <a:cxn ang="T5">
                  <a:pos x="0" y="T0"/>
                </a:cxn>
                <a:cxn ang="T6">
                  <a:pos x="0" y="T1"/>
                </a:cxn>
                <a:cxn ang="T7">
                  <a:pos x="0" y="T2"/>
                </a:cxn>
                <a:cxn ang="T8">
                  <a:pos x="0" y="T3"/>
                </a:cxn>
                <a:cxn ang="T9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8" name="Freeform 517">
              <a:extLst>
                <a:ext uri="{FF2B5EF4-FFF2-40B4-BE49-F238E27FC236}">
                  <a16:creationId xmlns="" xmlns:a16="http://schemas.microsoft.com/office/drawing/2014/main" id="{7EFA1F0D-86E1-584F-BF5C-F6C4D228AD9A}"/>
                </a:ext>
              </a:extLst>
            </p:cNvPr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7350125" y="2193925"/>
              <a:ext cx="7938" cy="58738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39" name="Freeform 518">
              <a:extLst>
                <a:ext uri="{FF2B5EF4-FFF2-40B4-BE49-F238E27FC236}">
                  <a16:creationId xmlns="" xmlns:a16="http://schemas.microsoft.com/office/drawing/2014/main" id="{E1C1CF98-0A39-3649-8667-9C3D18F08D98}"/>
                </a:ext>
              </a:extLst>
            </p:cNvPr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104063" y="1781175"/>
              <a:ext cx="17462" cy="603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0" name="Freeform 519">
              <a:extLst>
                <a:ext uri="{FF2B5EF4-FFF2-40B4-BE49-F238E27FC236}">
                  <a16:creationId xmlns="" xmlns:a16="http://schemas.microsoft.com/office/drawing/2014/main" id="{4CE51954-DA6B-E44F-9260-CC452EEBC895}"/>
                </a:ext>
              </a:extLst>
            </p:cNvPr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4419600" y="1920875"/>
              <a:ext cx="47625" cy="58738"/>
            </a:xfrm>
            <a:custGeom>
              <a:avLst/>
              <a:gdLst>
                <a:gd name="T0" fmla="*/ 33 w 100"/>
                <a:gd name="T1" fmla="*/ 0 h 55"/>
                <a:gd name="T2" fmla="*/ 100 w 100"/>
                <a:gd name="T3" fmla="*/ 12 h 55"/>
                <a:gd name="T4" fmla="*/ 100 w 100"/>
                <a:gd name="T5" fmla="*/ 55 h 55"/>
                <a:gd name="T6" fmla="*/ 13 w 100"/>
                <a:gd name="T7" fmla="*/ 55 h 55"/>
                <a:gd name="T8" fmla="*/ 0 w 100"/>
                <a:gd name="T9" fmla="*/ 43 h 55"/>
                <a:gd name="T10" fmla="*/ 1 w 100"/>
                <a:gd name="T11" fmla="*/ 38 h 55"/>
                <a:gd name="T12" fmla="*/ 4 w 100"/>
                <a:gd name="T13" fmla="*/ 32 h 55"/>
                <a:gd name="T14" fmla="*/ 10 w 100"/>
                <a:gd name="T15" fmla="*/ 25 h 55"/>
                <a:gd name="T16" fmla="*/ 16 w 100"/>
                <a:gd name="T17" fmla="*/ 18 h 55"/>
                <a:gd name="T18" fmla="*/ 27 w 100"/>
                <a:gd name="T19" fmla="*/ 5 h 55"/>
                <a:gd name="T20" fmla="*/ 33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1" name="Freeform 520">
              <a:extLst>
                <a:ext uri="{FF2B5EF4-FFF2-40B4-BE49-F238E27FC236}">
                  <a16:creationId xmlns="" xmlns:a16="http://schemas.microsoft.com/office/drawing/2014/main" id="{77EFDAFC-0E19-0942-B18F-99C503BC0211}"/>
                </a:ext>
              </a:extLst>
            </p:cNvPr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868863" y="1512888"/>
              <a:ext cx="42862" cy="58737"/>
            </a:xfrm>
            <a:custGeom>
              <a:avLst/>
              <a:gdLst>
                <a:gd name="T0" fmla="*/ 53 w 99"/>
                <a:gd name="T1" fmla="*/ 2 h 51"/>
                <a:gd name="T2" fmla="*/ 58 w 99"/>
                <a:gd name="T3" fmla="*/ 1 h 51"/>
                <a:gd name="T4" fmla="*/ 62 w 99"/>
                <a:gd name="T5" fmla="*/ 0 h 51"/>
                <a:gd name="T6" fmla="*/ 65 w 99"/>
                <a:gd name="T7" fmla="*/ 0 h 51"/>
                <a:gd name="T8" fmla="*/ 69 w 99"/>
                <a:gd name="T9" fmla="*/ 1 h 51"/>
                <a:gd name="T10" fmla="*/ 74 w 99"/>
                <a:gd name="T11" fmla="*/ 5 h 51"/>
                <a:gd name="T12" fmla="*/ 79 w 99"/>
                <a:gd name="T13" fmla="*/ 11 h 51"/>
                <a:gd name="T14" fmla="*/ 83 w 99"/>
                <a:gd name="T15" fmla="*/ 18 h 51"/>
                <a:gd name="T16" fmla="*/ 87 w 99"/>
                <a:gd name="T17" fmla="*/ 25 h 51"/>
                <a:gd name="T18" fmla="*/ 91 w 99"/>
                <a:gd name="T19" fmla="*/ 28 h 51"/>
                <a:gd name="T20" fmla="*/ 93 w 99"/>
                <a:gd name="T21" fmla="*/ 30 h 51"/>
                <a:gd name="T22" fmla="*/ 96 w 99"/>
                <a:gd name="T23" fmla="*/ 32 h 51"/>
                <a:gd name="T24" fmla="*/ 99 w 99"/>
                <a:gd name="T25" fmla="*/ 34 h 51"/>
                <a:gd name="T26" fmla="*/ 99 w 99"/>
                <a:gd name="T27" fmla="*/ 37 h 51"/>
                <a:gd name="T28" fmla="*/ 97 w 99"/>
                <a:gd name="T29" fmla="*/ 40 h 51"/>
                <a:gd name="T30" fmla="*/ 95 w 99"/>
                <a:gd name="T31" fmla="*/ 43 h 51"/>
                <a:gd name="T32" fmla="*/ 91 w 99"/>
                <a:gd name="T33" fmla="*/ 45 h 51"/>
                <a:gd name="T34" fmla="*/ 86 w 99"/>
                <a:gd name="T35" fmla="*/ 47 h 51"/>
                <a:gd name="T36" fmla="*/ 81 w 99"/>
                <a:gd name="T37" fmla="*/ 48 h 51"/>
                <a:gd name="T38" fmla="*/ 74 w 99"/>
                <a:gd name="T39" fmla="*/ 50 h 51"/>
                <a:gd name="T40" fmla="*/ 68 w 99"/>
                <a:gd name="T41" fmla="*/ 50 h 51"/>
                <a:gd name="T42" fmla="*/ 52 w 99"/>
                <a:gd name="T43" fmla="*/ 51 h 51"/>
                <a:gd name="T44" fmla="*/ 36 w 99"/>
                <a:gd name="T45" fmla="*/ 49 h 51"/>
                <a:gd name="T46" fmla="*/ 27 w 99"/>
                <a:gd name="T47" fmla="*/ 48 h 51"/>
                <a:gd name="T48" fmla="*/ 18 w 99"/>
                <a:gd name="T49" fmla="*/ 45 h 51"/>
                <a:gd name="T50" fmla="*/ 9 w 99"/>
                <a:gd name="T51" fmla="*/ 43 h 51"/>
                <a:gd name="T52" fmla="*/ 1 w 99"/>
                <a:gd name="T53" fmla="*/ 40 h 51"/>
                <a:gd name="T54" fmla="*/ 0 w 99"/>
                <a:gd name="T55" fmla="*/ 39 h 51"/>
                <a:gd name="T56" fmla="*/ 1 w 99"/>
                <a:gd name="T57" fmla="*/ 37 h 51"/>
                <a:gd name="T58" fmla="*/ 3 w 99"/>
                <a:gd name="T59" fmla="*/ 35 h 51"/>
                <a:gd name="T60" fmla="*/ 6 w 99"/>
                <a:gd name="T61" fmla="*/ 33 h 51"/>
                <a:gd name="T62" fmla="*/ 14 w 99"/>
                <a:gd name="T63" fmla="*/ 29 h 51"/>
                <a:gd name="T64" fmla="*/ 25 w 99"/>
                <a:gd name="T65" fmla="*/ 24 h 51"/>
                <a:gd name="T66" fmla="*/ 35 w 99"/>
                <a:gd name="T67" fmla="*/ 19 h 51"/>
                <a:gd name="T68" fmla="*/ 45 w 99"/>
                <a:gd name="T69" fmla="*/ 12 h 51"/>
                <a:gd name="T70" fmla="*/ 48 w 99"/>
                <a:gd name="T71" fmla="*/ 10 h 51"/>
                <a:gd name="T72" fmla="*/ 51 w 99"/>
                <a:gd name="T73" fmla="*/ 7 h 51"/>
                <a:gd name="T74" fmla="*/ 52 w 99"/>
                <a:gd name="T75" fmla="*/ 5 h 51"/>
                <a:gd name="T76" fmla="*/ 53 w 99"/>
                <a:gd name="T77" fmla="*/ 2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2" name="Freeform 521">
              <a:extLst>
                <a:ext uri="{FF2B5EF4-FFF2-40B4-BE49-F238E27FC236}">
                  <a16:creationId xmlns="" xmlns:a16="http://schemas.microsoft.com/office/drawing/2014/main" id="{5EFDA33F-2536-F040-B008-625D11A970A0}"/>
                </a:ext>
              </a:extLst>
            </p:cNvPr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903788" y="1325563"/>
              <a:ext cx="228600" cy="163512"/>
            </a:xfrm>
            <a:custGeom>
              <a:avLst/>
              <a:gdLst>
                <a:gd name="T0" fmla="*/ 315 w 525"/>
                <a:gd name="T1" fmla="*/ 27 h 311"/>
                <a:gd name="T2" fmla="*/ 342 w 525"/>
                <a:gd name="T3" fmla="*/ 21 h 311"/>
                <a:gd name="T4" fmla="*/ 385 w 525"/>
                <a:gd name="T5" fmla="*/ 20 h 311"/>
                <a:gd name="T6" fmla="*/ 408 w 525"/>
                <a:gd name="T7" fmla="*/ 17 h 311"/>
                <a:gd name="T8" fmla="*/ 427 w 525"/>
                <a:gd name="T9" fmla="*/ 7 h 311"/>
                <a:gd name="T10" fmla="*/ 514 w 525"/>
                <a:gd name="T11" fmla="*/ 6 h 311"/>
                <a:gd name="T12" fmla="*/ 525 w 525"/>
                <a:gd name="T13" fmla="*/ 19 h 311"/>
                <a:gd name="T14" fmla="*/ 468 w 525"/>
                <a:gd name="T15" fmla="*/ 47 h 311"/>
                <a:gd name="T16" fmla="*/ 392 w 525"/>
                <a:gd name="T17" fmla="*/ 73 h 311"/>
                <a:gd name="T18" fmla="*/ 356 w 525"/>
                <a:gd name="T19" fmla="*/ 80 h 311"/>
                <a:gd name="T20" fmla="*/ 321 w 525"/>
                <a:gd name="T21" fmla="*/ 83 h 311"/>
                <a:gd name="T22" fmla="*/ 279 w 525"/>
                <a:gd name="T23" fmla="*/ 101 h 311"/>
                <a:gd name="T24" fmla="*/ 244 w 525"/>
                <a:gd name="T25" fmla="*/ 121 h 311"/>
                <a:gd name="T26" fmla="*/ 218 w 525"/>
                <a:gd name="T27" fmla="*/ 129 h 311"/>
                <a:gd name="T28" fmla="*/ 187 w 525"/>
                <a:gd name="T29" fmla="*/ 123 h 311"/>
                <a:gd name="T30" fmla="*/ 178 w 525"/>
                <a:gd name="T31" fmla="*/ 137 h 311"/>
                <a:gd name="T32" fmla="*/ 175 w 525"/>
                <a:gd name="T33" fmla="*/ 145 h 311"/>
                <a:gd name="T34" fmla="*/ 185 w 525"/>
                <a:gd name="T35" fmla="*/ 148 h 311"/>
                <a:gd name="T36" fmla="*/ 184 w 525"/>
                <a:gd name="T37" fmla="*/ 157 h 311"/>
                <a:gd name="T38" fmla="*/ 176 w 525"/>
                <a:gd name="T39" fmla="*/ 167 h 311"/>
                <a:gd name="T40" fmla="*/ 180 w 525"/>
                <a:gd name="T41" fmla="*/ 179 h 311"/>
                <a:gd name="T42" fmla="*/ 162 w 525"/>
                <a:gd name="T43" fmla="*/ 194 h 311"/>
                <a:gd name="T44" fmla="*/ 144 w 525"/>
                <a:gd name="T45" fmla="*/ 204 h 311"/>
                <a:gd name="T46" fmla="*/ 141 w 525"/>
                <a:gd name="T47" fmla="*/ 213 h 311"/>
                <a:gd name="T48" fmla="*/ 144 w 525"/>
                <a:gd name="T49" fmla="*/ 228 h 311"/>
                <a:gd name="T50" fmla="*/ 163 w 525"/>
                <a:gd name="T51" fmla="*/ 247 h 311"/>
                <a:gd name="T52" fmla="*/ 191 w 525"/>
                <a:gd name="T53" fmla="*/ 267 h 311"/>
                <a:gd name="T54" fmla="*/ 256 w 525"/>
                <a:gd name="T55" fmla="*/ 300 h 311"/>
                <a:gd name="T56" fmla="*/ 243 w 525"/>
                <a:gd name="T57" fmla="*/ 311 h 311"/>
                <a:gd name="T58" fmla="*/ 189 w 525"/>
                <a:gd name="T59" fmla="*/ 309 h 311"/>
                <a:gd name="T60" fmla="*/ 145 w 525"/>
                <a:gd name="T61" fmla="*/ 308 h 311"/>
                <a:gd name="T62" fmla="*/ 129 w 525"/>
                <a:gd name="T63" fmla="*/ 304 h 311"/>
                <a:gd name="T64" fmla="*/ 123 w 525"/>
                <a:gd name="T65" fmla="*/ 298 h 311"/>
                <a:gd name="T66" fmla="*/ 120 w 525"/>
                <a:gd name="T67" fmla="*/ 282 h 311"/>
                <a:gd name="T68" fmla="*/ 116 w 525"/>
                <a:gd name="T69" fmla="*/ 278 h 311"/>
                <a:gd name="T70" fmla="*/ 95 w 525"/>
                <a:gd name="T71" fmla="*/ 277 h 311"/>
                <a:gd name="T72" fmla="*/ 80 w 525"/>
                <a:gd name="T73" fmla="*/ 296 h 311"/>
                <a:gd name="T74" fmla="*/ 44 w 525"/>
                <a:gd name="T75" fmla="*/ 282 h 311"/>
                <a:gd name="T76" fmla="*/ 0 w 525"/>
                <a:gd name="T77" fmla="*/ 246 h 311"/>
                <a:gd name="T78" fmla="*/ 18 w 525"/>
                <a:gd name="T79" fmla="*/ 239 h 311"/>
                <a:gd name="T80" fmla="*/ 34 w 525"/>
                <a:gd name="T81" fmla="*/ 222 h 311"/>
                <a:gd name="T82" fmla="*/ 28 w 525"/>
                <a:gd name="T83" fmla="*/ 213 h 311"/>
                <a:gd name="T84" fmla="*/ 34 w 525"/>
                <a:gd name="T85" fmla="*/ 200 h 311"/>
                <a:gd name="T86" fmla="*/ 40 w 525"/>
                <a:gd name="T87" fmla="*/ 188 h 311"/>
                <a:gd name="T88" fmla="*/ 34 w 525"/>
                <a:gd name="T89" fmla="*/ 179 h 311"/>
                <a:gd name="T90" fmla="*/ 134 w 525"/>
                <a:gd name="T91" fmla="*/ 179 h 311"/>
                <a:gd name="T92" fmla="*/ 131 w 525"/>
                <a:gd name="T93" fmla="*/ 177 h 311"/>
                <a:gd name="T94" fmla="*/ 90 w 525"/>
                <a:gd name="T95" fmla="*/ 166 h 311"/>
                <a:gd name="T96" fmla="*/ 54 w 525"/>
                <a:gd name="T97" fmla="*/ 148 h 311"/>
                <a:gd name="T98" fmla="*/ 84 w 525"/>
                <a:gd name="T99" fmla="*/ 134 h 311"/>
                <a:gd name="T100" fmla="*/ 120 w 525"/>
                <a:gd name="T101" fmla="*/ 111 h 311"/>
                <a:gd name="T102" fmla="*/ 111 w 525"/>
                <a:gd name="T103" fmla="*/ 103 h 311"/>
                <a:gd name="T104" fmla="*/ 100 w 525"/>
                <a:gd name="T105" fmla="*/ 80 h 311"/>
                <a:gd name="T106" fmla="*/ 127 w 525"/>
                <a:gd name="T107" fmla="*/ 76 h 311"/>
                <a:gd name="T108" fmla="*/ 184 w 525"/>
                <a:gd name="T109" fmla="*/ 58 h 311"/>
                <a:gd name="T110" fmla="*/ 254 w 525"/>
                <a:gd name="T111" fmla="*/ 35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3" name="Freeform 522">
              <a:extLst>
                <a:ext uri="{FF2B5EF4-FFF2-40B4-BE49-F238E27FC236}">
                  <a16:creationId xmlns="" xmlns:a16="http://schemas.microsoft.com/office/drawing/2014/main" id="{A5C24DFC-CF0C-F64C-B089-259C4B781DB5}"/>
                </a:ext>
              </a:extLst>
            </p:cNvPr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695825" y="1636713"/>
              <a:ext cx="31750" cy="55562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4" name="Freeform 523">
              <a:extLst>
                <a:ext uri="{FF2B5EF4-FFF2-40B4-BE49-F238E27FC236}">
                  <a16:creationId xmlns="" xmlns:a16="http://schemas.microsoft.com/office/drawing/2014/main" id="{704FDAB0-F356-D343-8D3C-B505D64A6E56}"/>
                </a:ext>
              </a:extLst>
            </p:cNvPr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000875" y="1933575"/>
              <a:ext cx="196850" cy="268288"/>
            </a:xfrm>
            <a:custGeom>
              <a:avLst/>
              <a:gdLst>
                <a:gd name="T0" fmla="*/ 26 w 459"/>
                <a:gd name="T1" fmla="*/ 45 h 511"/>
                <a:gd name="T2" fmla="*/ 12 w 459"/>
                <a:gd name="T3" fmla="*/ 25 h 511"/>
                <a:gd name="T4" fmla="*/ 0 w 459"/>
                <a:gd name="T5" fmla="*/ 0 h 511"/>
                <a:gd name="T6" fmla="*/ 22 w 459"/>
                <a:gd name="T7" fmla="*/ 7 h 511"/>
                <a:gd name="T8" fmla="*/ 33 w 459"/>
                <a:gd name="T9" fmla="*/ 6 h 511"/>
                <a:gd name="T10" fmla="*/ 95 w 459"/>
                <a:gd name="T11" fmla="*/ 67 h 511"/>
                <a:gd name="T12" fmla="*/ 146 w 459"/>
                <a:gd name="T13" fmla="*/ 123 h 511"/>
                <a:gd name="T14" fmla="*/ 216 w 459"/>
                <a:gd name="T15" fmla="*/ 198 h 511"/>
                <a:gd name="T16" fmla="*/ 258 w 459"/>
                <a:gd name="T17" fmla="*/ 237 h 511"/>
                <a:gd name="T18" fmla="*/ 303 w 459"/>
                <a:gd name="T19" fmla="*/ 266 h 511"/>
                <a:gd name="T20" fmla="*/ 372 w 459"/>
                <a:gd name="T21" fmla="*/ 311 h 511"/>
                <a:gd name="T22" fmla="*/ 398 w 459"/>
                <a:gd name="T23" fmla="*/ 336 h 511"/>
                <a:gd name="T24" fmla="*/ 365 w 459"/>
                <a:gd name="T25" fmla="*/ 320 h 511"/>
                <a:gd name="T26" fmla="*/ 324 w 459"/>
                <a:gd name="T27" fmla="*/ 296 h 511"/>
                <a:gd name="T28" fmla="*/ 314 w 459"/>
                <a:gd name="T29" fmla="*/ 298 h 511"/>
                <a:gd name="T30" fmla="*/ 313 w 459"/>
                <a:gd name="T31" fmla="*/ 311 h 511"/>
                <a:gd name="T32" fmla="*/ 317 w 459"/>
                <a:gd name="T33" fmla="*/ 337 h 511"/>
                <a:gd name="T34" fmla="*/ 326 w 459"/>
                <a:gd name="T35" fmla="*/ 358 h 511"/>
                <a:gd name="T36" fmla="*/ 348 w 459"/>
                <a:gd name="T37" fmla="*/ 387 h 511"/>
                <a:gd name="T38" fmla="*/ 394 w 459"/>
                <a:gd name="T39" fmla="*/ 421 h 511"/>
                <a:gd name="T40" fmla="*/ 440 w 459"/>
                <a:gd name="T41" fmla="*/ 458 h 511"/>
                <a:gd name="T42" fmla="*/ 448 w 459"/>
                <a:gd name="T43" fmla="*/ 476 h 511"/>
                <a:gd name="T44" fmla="*/ 428 w 459"/>
                <a:gd name="T45" fmla="*/ 469 h 511"/>
                <a:gd name="T46" fmla="*/ 392 w 459"/>
                <a:gd name="T47" fmla="*/ 462 h 511"/>
                <a:gd name="T48" fmla="*/ 393 w 459"/>
                <a:gd name="T49" fmla="*/ 494 h 511"/>
                <a:gd name="T50" fmla="*/ 398 w 459"/>
                <a:gd name="T51" fmla="*/ 511 h 511"/>
                <a:gd name="T52" fmla="*/ 388 w 459"/>
                <a:gd name="T53" fmla="*/ 492 h 511"/>
                <a:gd name="T54" fmla="*/ 363 w 459"/>
                <a:gd name="T55" fmla="*/ 466 h 511"/>
                <a:gd name="T56" fmla="*/ 343 w 459"/>
                <a:gd name="T57" fmla="*/ 445 h 511"/>
                <a:gd name="T58" fmla="*/ 339 w 459"/>
                <a:gd name="T59" fmla="*/ 431 h 511"/>
                <a:gd name="T60" fmla="*/ 328 w 459"/>
                <a:gd name="T61" fmla="*/ 411 h 511"/>
                <a:gd name="T62" fmla="*/ 310 w 459"/>
                <a:gd name="T63" fmla="*/ 384 h 511"/>
                <a:gd name="T64" fmla="*/ 298 w 459"/>
                <a:gd name="T65" fmla="*/ 367 h 511"/>
                <a:gd name="T66" fmla="*/ 280 w 459"/>
                <a:gd name="T67" fmla="*/ 358 h 511"/>
                <a:gd name="T68" fmla="*/ 264 w 459"/>
                <a:gd name="T69" fmla="*/ 343 h 511"/>
                <a:gd name="T70" fmla="*/ 249 w 459"/>
                <a:gd name="T71" fmla="*/ 314 h 511"/>
                <a:gd name="T72" fmla="*/ 245 w 459"/>
                <a:gd name="T73" fmla="*/ 293 h 511"/>
                <a:gd name="T74" fmla="*/ 234 w 459"/>
                <a:gd name="T75" fmla="*/ 281 h 511"/>
                <a:gd name="T76" fmla="*/ 194 w 459"/>
                <a:gd name="T77" fmla="*/ 244 h 511"/>
                <a:gd name="T78" fmla="*/ 171 w 459"/>
                <a:gd name="T79" fmla="*/ 220 h 511"/>
                <a:gd name="T80" fmla="*/ 163 w 459"/>
                <a:gd name="T81" fmla="*/ 203 h 511"/>
                <a:gd name="T82" fmla="*/ 154 w 459"/>
                <a:gd name="T83" fmla="*/ 187 h 511"/>
                <a:gd name="T84" fmla="*/ 115 w 459"/>
                <a:gd name="T85" fmla="*/ 155 h 511"/>
                <a:gd name="T86" fmla="*/ 70 w 459"/>
                <a:gd name="T87" fmla="*/ 130 h 511"/>
                <a:gd name="T88" fmla="*/ 47 w 459"/>
                <a:gd name="T89" fmla="*/ 110 h 511"/>
                <a:gd name="T90" fmla="*/ 38 w 459"/>
                <a:gd name="T91" fmla="*/ 93 h 511"/>
                <a:gd name="T92" fmla="*/ 34 w 459"/>
                <a:gd name="T93" fmla="*/ 75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45" name="Group 524">
              <a:extLst>
                <a:ext uri="{FF2B5EF4-FFF2-40B4-BE49-F238E27FC236}">
                  <a16:creationId xmlns="" xmlns:a16="http://schemas.microsoft.com/office/drawing/2014/main" id="{8A5E301B-028B-2D4E-BAB1-F524F76C399F}"/>
                </a:ext>
              </a:extLst>
            </p:cNvPr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5791200" y="1889125"/>
              <a:ext cx="671513" cy="384175"/>
              <a:chOff x="4115" y="1551"/>
              <a:chExt cx="504" cy="244"/>
            </a:xfrm>
          </p:grpSpPr>
          <p:sp>
            <p:nvSpPr>
              <p:cNvPr id="546" name="Freeform 525">
                <a:extLst>
                  <a:ext uri="{FF2B5EF4-FFF2-40B4-BE49-F238E27FC236}">
                    <a16:creationId xmlns="" xmlns:a16="http://schemas.microsoft.com/office/drawing/2014/main" id="{7E77FBB5-D0C4-CE4B-99F7-F0D1CB463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13 w 240"/>
                  <a:gd name="T1" fmla="*/ 247 h 259"/>
                  <a:gd name="T2" fmla="*/ 79 w 240"/>
                  <a:gd name="T3" fmla="*/ 259 h 259"/>
                  <a:gd name="T4" fmla="*/ 120 w 240"/>
                  <a:gd name="T5" fmla="*/ 240 h 259"/>
                  <a:gd name="T6" fmla="*/ 133 w 240"/>
                  <a:gd name="T7" fmla="*/ 210 h 259"/>
                  <a:gd name="T8" fmla="*/ 192 w 240"/>
                  <a:gd name="T9" fmla="*/ 161 h 259"/>
                  <a:gd name="T10" fmla="*/ 212 w 240"/>
                  <a:gd name="T11" fmla="*/ 111 h 259"/>
                  <a:gd name="T12" fmla="*/ 240 w 240"/>
                  <a:gd name="T13" fmla="*/ 26 h 259"/>
                  <a:gd name="T14" fmla="*/ 212 w 240"/>
                  <a:gd name="T15" fmla="*/ 0 h 259"/>
                  <a:gd name="T16" fmla="*/ 206 w 240"/>
                  <a:gd name="T17" fmla="*/ 32 h 259"/>
                  <a:gd name="T18" fmla="*/ 199 w 240"/>
                  <a:gd name="T19" fmla="*/ 74 h 259"/>
                  <a:gd name="T20" fmla="*/ 166 w 240"/>
                  <a:gd name="T21" fmla="*/ 105 h 259"/>
                  <a:gd name="T22" fmla="*/ 133 w 240"/>
                  <a:gd name="T23" fmla="*/ 149 h 259"/>
                  <a:gd name="T24" fmla="*/ 113 w 240"/>
                  <a:gd name="T25" fmla="*/ 179 h 259"/>
                  <a:gd name="T26" fmla="*/ 93 w 240"/>
                  <a:gd name="T27" fmla="*/ 216 h 259"/>
                  <a:gd name="T28" fmla="*/ 20 w 240"/>
                  <a:gd name="T29" fmla="*/ 222 h 259"/>
                  <a:gd name="T30" fmla="*/ 0 w 240"/>
                  <a:gd name="T31" fmla="*/ 222 h 259"/>
                  <a:gd name="T32" fmla="*/ 13 w 240"/>
                  <a:gd name="T33" fmla="*/ 247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47" name="Freeform 526">
                <a:extLst>
                  <a:ext uri="{FF2B5EF4-FFF2-40B4-BE49-F238E27FC236}">
                    <a16:creationId xmlns="" xmlns:a16="http://schemas.microsoft.com/office/drawing/2014/main" id="{B80AA374-ECCC-1141-B7E4-7E00CE5079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33 w 259"/>
                  <a:gd name="T1" fmla="*/ 104 h 104"/>
                  <a:gd name="T2" fmla="*/ 26 w 259"/>
                  <a:gd name="T3" fmla="*/ 86 h 104"/>
                  <a:gd name="T4" fmla="*/ 52 w 259"/>
                  <a:gd name="T5" fmla="*/ 62 h 104"/>
                  <a:gd name="T6" fmla="*/ 72 w 259"/>
                  <a:gd name="T7" fmla="*/ 49 h 104"/>
                  <a:gd name="T8" fmla="*/ 126 w 259"/>
                  <a:gd name="T9" fmla="*/ 43 h 104"/>
                  <a:gd name="T10" fmla="*/ 172 w 259"/>
                  <a:gd name="T11" fmla="*/ 43 h 104"/>
                  <a:gd name="T12" fmla="*/ 246 w 259"/>
                  <a:gd name="T13" fmla="*/ 31 h 104"/>
                  <a:gd name="T14" fmla="*/ 259 w 259"/>
                  <a:gd name="T15" fmla="*/ 7 h 104"/>
                  <a:gd name="T16" fmla="*/ 246 w 259"/>
                  <a:gd name="T17" fmla="*/ 0 h 104"/>
                  <a:gd name="T18" fmla="*/ 205 w 259"/>
                  <a:gd name="T19" fmla="*/ 13 h 104"/>
                  <a:gd name="T20" fmla="*/ 152 w 259"/>
                  <a:gd name="T21" fmla="*/ 7 h 104"/>
                  <a:gd name="T22" fmla="*/ 106 w 259"/>
                  <a:gd name="T23" fmla="*/ 13 h 104"/>
                  <a:gd name="T24" fmla="*/ 52 w 259"/>
                  <a:gd name="T25" fmla="*/ 19 h 104"/>
                  <a:gd name="T26" fmla="*/ 26 w 259"/>
                  <a:gd name="T27" fmla="*/ 43 h 104"/>
                  <a:gd name="T28" fmla="*/ 0 w 259"/>
                  <a:gd name="T29" fmla="*/ 68 h 104"/>
                  <a:gd name="T30" fmla="*/ 0 w 259"/>
                  <a:gd name="T31" fmla="*/ 104 h 104"/>
                  <a:gd name="T32" fmla="*/ 33 w 259"/>
                  <a:gd name="T33" fmla="*/ 104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48" name="Freeform 527">
              <a:extLst>
                <a:ext uri="{FF2B5EF4-FFF2-40B4-BE49-F238E27FC236}">
                  <a16:creationId xmlns="" xmlns:a16="http://schemas.microsoft.com/office/drawing/2014/main" id="{17073D24-8E28-DB46-8332-B4FA327B078B}"/>
                </a:ext>
              </a:extLst>
            </p:cNvPr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4848225" y="2638425"/>
              <a:ext cx="530225" cy="511175"/>
            </a:xfrm>
            <a:custGeom>
              <a:avLst/>
              <a:gdLst>
                <a:gd name="T0" fmla="*/ 932 w 1227"/>
                <a:gd name="T1" fmla="*/ 466 h 979"/>
                <a:gd name="T2" fmla="*/ 932 w 1227"/>
                <a:gd name="T3" fmla="*/ 442 h 979"/>
                <a:gd name="T4" fmla="*/ 930 w 1227"/>
                <a:gd name="T5" fmla="*/ 412 h 979"/>
                <a:gd name="T6" fmla="*/ 908 w 1227"/>
                <a:gd name="T7" fmla="*/ 385 h 979"/>
                <a:gd name="T8" fmla="*/ 899 w 1227"/>
                <a:gd name="T9" fmla="*/ 367 h 979"/>
                <a:gd name="T10" fmla="*/ 817 w 1227"/>
                <a:gd name="T11" fmla="*/ 312 h 979"/>
                <a:gd name="T12" fmla="*/ 759 w 1227"/>
                <a:gd name="T13" fmla="*/ 263 h 979"/>
                <a:gd name="T14" fmla="*/ 752 w 1227"/>
                <a:gd name="T15" fmla="*/ 229 h 979"/>
                <a:gd name="T16" fmla="*/ 726 w 1227"/>
                <a:gd name="T17" fmla="*/ 218 h 979"/>
                <a:gd name="T18" fmla="*/ 695 w 1227"/>
                <a:gd name="T19" fmla="*/ 207 h 979"/>
                <a:gd name="T20" fmla="*/ 638 w 1227"/>
                <a:gd name="T21" fmla="*/ 196 h 979"/>
                <a:gd name="T22" fmla="*/ 596 w 1227"/>
                <a:gd name="T23" fmla="*/ 201 h 979"/>
                <a:gd name="T24" fmla="*/ 570 w 1227"/>
                <a:gd name="T25" fmla="*/ 204 h 979"/>
                <a:gd name="T26" fmla="*/ 530 w 1227"/>
                <a:gd name="T27" fmla="*/ 195 h 979"/>
                <a:gd name="T28" fmla="*/ 505 w 1227"/>
                <a:gd name="T29" fmla="*/ 179 h 979"/>
                <a:gd name="T30" fmla="*/ 483 w 1227"/>
                <a:gd name="T31" fmla="*/ 128 h 979"/>
                <a:gd name="T32" fmla="*/ 465 w 1227"/>
                <a:gd name="T33" fmla="*/ 103 h 979"/>
                <a:gd name="T34" fmla="*/ 432 w 1227"/>
                <a:gd name="T35" fmla="*/ 81 h 979"/>
                <a:gd name="T36" fmla="*/ 365 w 1227"/>
                <a:gd name="T37" fmla="*/ 61 h 979"/>
                <a:gd name="T38" fmla="*/ 303 w 1227"/>
                <a:gd name="T39" fmla="*/ 32 h 979"/>
                <a:gd name="T40" fmla="*/ 214 w 1227"/>
                <a:gd name="T41" fmla="*/ 10 h 979"/>
                <a:gd name="T42" fmla="*/ 166 w 1227"/>
                <a:gd name="T43" fmla="*/ 38 h 979"/>
                <a:gd name="T44" fmla="*/ 151 w 1227"/>
                <a:gd name="T45" fmla="*/ 61 h 979"/>
                <a:gd name="T46" fmla="*/ 153 w 1227"/>
                <a:gd name="T47" fmla="*/ 90 h 979"/>
                <a:gd name="T48" fmla="*/ 169 w 1227"/>
                <a:gd name="T49" fmla="*/ 118 h 979"/>
                <a:gd name="T50" fmla="*/ 151 w 1227"/>
                <a:gd name="T51" fmla="*/ 150 h 979"/>
                <a:gd name="T52" fmla="*/ 95 w 1227"/>
                <a:gd name="T53" fmla="*/ 186 h 979"/>
                <a:gd name="T54" fmla="*/ 54 w 1227"/>
                <a:gd name="T55" fmla="*/ 190 h 979"/>
                <a:gd name="T56" fmla="*/ 9 w 1227"/>
                <a:gd name="T57" fmla="*/ 183 h 979"/>
                <a:gd name="T58" fmla="*/ 0 w 1227"/>
                <a:gd name="T59" fmla="*/ 236 h 979"/>
                <a:gd name="T60" fmla="*/ 9 w 1227"/>
                <a:gd name="T61" fmla="*/ 269 h 979"/>
                <a:gd name="T62" fmla="*/ 25 w 1227"/>
                <a:gd name="T63" fmla="*/ 282 h 979"/>
                <a:gd name="T64" fmla="*/ 40 w 1227"/>
                <a:gd name="T65" fmla="*/ 307 h 979"/>
                <a:gd name="T66" fmla="*/ 83 w 1227"/>
                <a:gd name="T67" fmla="*/ 364 h 979"/>
                <a:gd name="T68" fmla="*/ 102 w 1227"/>
                <a:gd name="T69" fmla="*/ 414 h 979"/>
                <a:gd name="T70" fmla="*/ 121 w 1227"/>
                <a:gd name="T71" fmla="*/ 427 h 979"/>
                <a:gd name="T72" fmla="*/ 133 w 1227"/>
                <a:gd name="T73" fmla="*/ 438 h 979"/>
                <a:gd name="T74" fmla="*/ 148 w 1227"/>
                <a:gd name="T75" fmla="*/ 469 h 979"/>
                <a:gd name="T76" fmla="*/ 224 w 1227"/>
                <a:gd name="T77" fmla="*/ 546 h 979"/>
                <a:gd name="T78" fmla="*/ 249 w 1227"/>
                <a:gd name="T79" fmla="*/ 585 h 979"/>
                <a:gd name="T80" fmla="*/ 256 w 1227"/>
                <a:gd name="T81" fmla="*/ 624 h 979"/>
                <a:gd name="T82" fmla="*/ 266 w 1227"/>
                <a:gd name="T83" fmla="*/ 659 h 979"/>
                <a:gd name="T84" fmla="*/ 299 w 1227"/>
                <a:gd name="T85" fmla="*/ 701 h 979"/>
                <a:gd name="T86" fmla="*/ 361 w 1227"/>
                <a:gd name="T87" fmla="*/ 761 h 979"/>
                <a:gd name="T88" fmla="*/ 388 w 1227"/>
                <a:gd name="T89" fmla="*/ 814 h 979"/>
                <a:gd name="T90" fmla="*/ 425 w 1227"/>
                <a:gd name="T91" fmla="*/ 867 h 979"/>
                <a:gd name="T92" fmla="*/ 483 w 1227"/>
                <a:gd name="T93" fmla="*/ 938 h 979"/>
                <a:gd name="T94" fmla="*/ 528 w 1227"/>
                <a:gd name="T95" fmla="*/ 979 h 979"/>
                <a:gd name="T96" fmla="*/ 543 w 1227"/>
                <a:gd name="T97" fmla="*/ 953 h 979"/>
                <a:gd name="T98" fmla="*/ 546 w 1227"/>
                <a:gd name="T99" fmla="*/ 909 h 979"/>
                <a:gd name="T100" fmla="*/ 570 w 1227"/>
                <a:gd name="T101" fmla="*/ 896 h 979"/>
                <a:gd name="T102" fmla="*/ 605 w 1227"/>
                <a:gd name="T103" fmla="*/ 895 h 979"/>
                <a:gd name="T104" fmla="*/ 660 w 1227"/>
                <a:gd name="T105" fmla="*/ 909 h 979"/>
                <a:gd name="T106" fmla="*/ 708 w 1227"/>
                <a:gd name="T107" fmla="*/ 943 h 979"/>
                <a:gd name="T108" fmla="*/ 787 w 1227"/>
                <a:gd name="T109" fmla="*/ 838 h 979"/>
                <a:gd name="T110" fmla="*/ 1199 w 1227"/>
                <a:gd name="T111" fmla="*/ 567 h 979"/>
                <a:gd name="T112" fmla="*/ 940 w 1227"/>
                <a:gd name="T113" fmla="*/ 468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49" name="Freeform 528">
              <a:extLst>
                <a:ext uri="{FF2B5EF4-FFF2-40B4-BE49-F238E27FC236}">
                  <a16:creationId xmlns="" xmlns:a16="http://schemas.microsoft.com/office/drawing/2014/main" id="{AD576137-62DB-2C48-90E2-F482B47D4496}"/>
                </a:ext>
              </a:extLst>
            </p:cNvPr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322763" y="2182813"/>
              <a:ext cx="57150" cy="57150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0" name="Freeform 529">
              <a:extLst>
                <a:ext uri="{FF2B5EF4-FFF2-40B4-BE49-F238E27FC236}">
                  <a16:creationId xmlns="" xmlns:a16="http://schemas.microsoft.com/office/drawing/2014/main" id="{4E011A2C-E11B-404D-A97E-81F22363138F}"/>
                </a:ext>
              </a:extLst>
            </p:cNvPr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4062413" y="2395538"/>
              <a:ext cx="15875" cy="57150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1" name="Freeform 530">
              <a:extLst>
                <a:ext uri="{FF2B5EF4-FFF2-40B4-BE49-F238E27FC236}">
                  <a16:creationId xmlns="" xmlns:a16="http://schemas.microsoft.com/office/drawing/2014/main" id="{EBF9228C-F1B0-A042-A114-9857A5A61D8F}"/>
                </a:ext>
              </a:extLst>
            </p:cNvPr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3654425" y="2741613"/>
              <a:ext cx="28575" cy="57150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2" name="Freeform 531">
              <a:extLst>
                <a:ext uri="{FF2B5EF4-FFF2-40B4-BE49-F238E27FC236}">
                  <a16:creationId xmlns="" xmlns:a16="http://schemas.microsoft.com/office/drawing/2014/main" id="{BDDD00F6-A94F-CC45-927C-88031D29012F}"/>
                </a:ext>
              </a:extLst>
            </p:cNvPr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3595688" y="2757488"/>
              <a:ext cx="23812" cy="603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3" name="Freeform 532">
              <a:extLst>
                <a:ext uri="{FF2B5EF4-FFF2-40B4-BE49-F238E27FC236}">
                  <a16:creationId xmlns="" xmlns:a16="http://schemas.microsoft.com/office/drawing/2014/main" id="{4160E868-F680-6E40-98CE-7A0DE3065786}"/>
                </a:ext>
              </a:extLst>
            </p:cNvPr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3570288" y="2751138"/>
              <a:ext cx="6350" cy="57150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4" name="Freeform 533">
              <a:extLst>
                <a:ext uri="{FF2B5EF4-FFF2-40B4-BE49-F238E27FC236}">
                  <a16:creationId xmlns="" xmlns:a16="http://schemas.microsoft.com/office/drawing/2014/main" id="{6272FA44-1539-5C4C-8F94-8AE374407B45}"/>
                </a:ext>
              </a:extLst>
            </p:cNvPr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4841875" y="2479675"/>
              <a:ext cx="174625" cy="158750"/>
            </a:xfrm>
            <a:custGeom>
              <a:avLst/>
              <a:gdLst>
                <a:gd name="T0" fmla="*/ 26 w 405"/>
                <a:gd name="T1" fmla="*/ 162 h 302"/>
                <a:gd name="T2" fmla="*/ 28 w 405"/>
                <a:gd name="T3" fmla="*/ 156 h 302"/>
                <a:gd name="T4" fmla="*/ 30 w 405"/>
                <a:gd name="T5" fmla="*/ 154 h 302"/>
                <a:gd name="T6" fmla="*/ 28 w 405"/>
                <a:gd name="T7" fmla="*/ 151 h 302"/>
                <a:gd name="T8" fmla="*/ 18 w 405"/>
                <a:gd name="T9" fmla="*/ 143 h 302"/>
                <a:gd name="T10" fmla="*/ 6 w 405"/>
                <a:gd name="T11" fmla="*/ 127 h 302"/>
                <a:gd name="T12" fmla="*/ 2 w 405"/>
                <a:gd name="T13" fmla="*/ 116 h 302"/>
                <a:gd name="T14" fmla="*/ 5 w 405"/>
                <a:gd name="T15" fmla="*/ 112 h 302"/>
                <a:gd name="T16" fmla="*/ 6 w 405"/>
                <a:gd name="T17" fmla="*/ 104 h 302"/>
                <a:gd name="T18" fmla="*/ 17 w 405"/>
                <a:gd name="T19" fmla="*/ 97 h 302"/>
                <a:gd name="T20" fmla="*/ 34 w 405"/>
                <a:gd name="T21" fmla="*/ 93 h 302"/>
                <a:gd name="T22" fmla="*/ 47 w 405"/>
                <a:gd name="T23" fmla="*/ 88 h 302"/>
                <a:gd name="T24" fmla="*/ 57 w 405"/>
                <a:gd name="T25" fmla="*/ 82 h 302"/>
                <a:gd name="T26" fmla="*/ 67 w 405"/>
                <a:gd name="T27" fmla="*/ 70 h 302"/>
                <a:gd name="T28" fmla="*/ 75 w 405"/>
                <a:gd name="T29" fmla="*/ 52 h 302"/>
                <a:gd name="T30" fmla="*/ 84 w 405"/>
                <a:gd name="T31" fmla="*/ 47 h 302"/>
                <a:gd name="T32" fmla="*/ 95 w 405"/>
                <a:gd name="T33" fmla="*/ 52 h 302"/>
                <a:gd name="T34" fmla="*/ 117 w 405"/>
                <a:gd name="T35" fmla="*/ 54 h 302"/>
                <a:gd name="T36" fmla="*/ 169 w 405"/>
                <a:gd name="T37" fmla="*/ 46 h 302"/>
                <a:gd name="T38" fmla="*/ 212 w 405"/>
                <a:gd name="T39" fmla="*/ 43 h 302"/>
                <a:gd name="T40" fmla="*/ 234 w 405"/>
                <a:gd name="T41" fmla="*/ 41 h 302"/>
                <a:gd name="T42" fmla="*/ 264 w 405"/>
                <a:gd name="T43" fmla="*/ 35 h 302"/>
                <a:gd name="T44" fmla="*/ 318 w 405"/>
                <a:gd name="T45" fmla="*/ 17 h 302"/>
                <a:gd name="T46" fmla="*/ 359 w 405"/>
                <a:gd name="T47" fmla="*/ 4 h 302"/>
                <a:gd name="T48" fmla="*/ 372 w 405"/>
                <a:gd name="T49" fmla="*/ 3 h 302"/>
                <a:gd name="T50" fmla="*/ 385 w 405"/>
                <a:gd name="T51" fmla="*/ 3 h 302"/>
                <a:gd name="T52" fmla="*/ 398 w 405"/>
                <a:gd name="T53" fmla="*/ 1 h 302"/>
                <a:gd name="T54" fmla="*/ 395 w 405"/>
                <a:gd name="T55" fmla="*/ 8 h 302"/>
                <a:gd name="T56" fmla="*/ 360 w 405"/>
                <a:gd name="T57" fmla="*/ 41 h 302"/>
                <a:gd name="T58" fmla="*/ 344 w 405"/>
                <a:gd name="T59" fmla="*/ 57 h 302"/>
                <a:gd name="T60" fmla="*/ 339 w 405"/>
                <a:gd name="T61" fmla="*/ 64 h 302"/>
                <a:gd name="T62" fmla="*/ 339 w 405"/>
                <a:gd name="T63" fmla="*/ 96 h 302"/>
                <a:gd name="T64" fmla="*/ 337 w 405"/>
                <a:gd name="T65" fmla="*/ 149 h 302"/>
                <a:gd name="T66" fmla="*/ 335 w 405"/>
                <a:gd name="T67" fmla="*/ 180 h 302"/>
                <a:gd name="T68" fmla="*/ 326 w 405"/>
                <a:gd name="T69" fmla="*/ 198 h 302"/>
                <a:gd name="T70" fmla="*/ 305 w 405"/>
                <a:gd name="T71" fmla="*/ 210 h 302"/>
                <a:gd name="T72" fmla="*/ 265 w 405"/>
                <a:gd name="T73" fmla="*/ 227 h 302"/>
                <a:gd name="T74" fmla="*/ 106 w 405"/>
                <a:gd name="T75" fmla="*/ 302 h 302"/>
                <a:gd name="T76" fmla="*/ 57 w 405"/>
                <a:gd name="T77" fmla="*/ 260 h 302"/>
                <a:gd name="T78" fmla="*/ 70 w 405"/>
                <a:gd name="T79" fmla="*/ 228 h 302"/>
                <a:gd name="T80" fmla="*/ 81 w 405"/>
                <a:gd name="T81" fmla="*/ 209 h 302"/>
                <a:gd name="T82" fmla="*/ 86 w 405"/>
                <a:gd name="T83" fmla="*/ 172 h 302"/>
                <a:gd name="T84" fmla="*/ 71 w 405"/>
                <a:gd name="T85" fmla="*/ 173 h 302"/>
                <a:gd name="T86" fmla="*/ 57 w 405"/>
                <a:gd name="T87" fmla="*/ 169 h 302"/>
                <a:gd name="T88" fmla="*/ 41 w 405"/>
                <a:gd name="T89" fmla="*/ 165 h 302"/>
                <a:gd name="T90" fmla="*/ 26 w 405"/>
                <a:gd name="T91" fmla="*/ 166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55" name="Freeform 534">
              <a:extLst>
                <a:ext uri="{FF2B5EF4-FFF2-40B4-BE49-F238E27FC236}">
                  <a16:creationId xmlns="" xmlns:a16="http://schemas.microsoft.com/office/drawing/2014/main" id="{73E9E0D4-B1D4-BF49-BF84-6CDA21A43C08}"/>
                </a:ext>
              </a:extLst>
            </p:cNvPr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935788" y="2860675"/>
              <a:ext cx="42862" cy="79375"/>
            </a:xfrm>
            <a:custGeom>
              <a:avLst/>
              <a:gdLst>
                <a:gd name="T0" fmla="*/ 100 w 100"/>
                <a:gd name="T1" fmla="*/ 1 h 155"/>
                <a:gd name="T2" fmla="*/ 100 w 100"/>
                <a:gd name="T3" fmla="*/ 30 h 155"/>
                <a:gd name="T4" fmla="*/ 100 w 100"/>
                <a:gd name="T5" fmla="*/ 55 h 155"/>
                <a:gd name="T6" fmla="*/ 100 w 100"/>
                <a:gd name="T7" fmla="*/ 78 h 155"/>
                <a:gd name="T8" fmla="*/ 100 w 100"/>
                <a:gd name="T9" fmla="*/ 99 h 155"/>
                <a:gd name="T10" fmla="*/ 98 w 100"/>
                <a:gd name="T11" fmla="*/ 109 h 155"/>
                <a:gd name="T12" fmla="*/ 94 w 100"/>
                <a:gd name="T13" fmla="*/ 118 h 155"/>
                <a:gd name="T14" fmla="*/ 89 w 100"/>
                <a:gd name="T15" fmla="*/ 128 h 155"/>
                <a:gd name="T16" fmla="*/ 82 w 100"/>
                <a:gd name="T17" fmla="*/ 137 h 155"/>
                <a:gd name="T18" fmla="*/ 73 w 100"/>
                <a:gd name="T19" fmla="*/ 144 h 155"/>
                <a:gd name="T20" fmla="*/ 62 w 100"/>
                <a:gd name="T21" fmla="*/ 150 h 155"/>
                <a:gd name="T22" fmla="*/ 57 w 100"/>
                <a:gd name="T23" fmla="*/ 152 h 155"/>
                <a:gd name="T24" fmla="*/ 51 w 100"/>
                <a:gd name="T25" fmla="*/ 154 h 155"/>
                <a:gd name="T26" fmla="*/ 46 w 100"/>
                <a:gd name="T27" fmla="*/ 155 h 155"/>
                <a:gd name="T28" fmla="*/ 39 w 100"/>
                <a:gd name="T29" fmla="*/ 155 h 155"/>
                <a:gd name="T30" fmla="*/ 35 w 100"/>
                <a:gd name="T31" fmla="*/ 154 h 155"/>
                <a:gd name="T32" fmla="*/ 30 w 100"/>
                <a:gd name="T33" fmla="*/ 153 h 155"/>
                <a:gd name="T34" fmla="*/ 26 w 100"/>
                <a:gd name="T35" fmla="*/ 151 h 155"/>
                <a:gd name="T36" fmla="*/ 22 w 100"/>
                <a:gd name="T37" fmla="*/ 149 h 155"/>
                <a:gd name="T38" fmla="*/ 15 w 100"/>
                <a:gd name="T39" fmla="*/ 142 h 155"/>
                <a:gd name="T40" fmla="*/ 9 w 100"/>
                <a:gd name="T41" fmla="*/ 134 h 155"/>
                <a:gd name="T42" fmla="*/ 5 w 100"/>
                <a:gd name="T43" fmla="*/ 124 h 155"/>
                <a:gd name="T44" fmla="*/ 2 w 100"/>
                <a:gd name="T45" fmla="*/ 113 h 155"/>
                <a:gd name="T46" fmla="*/ 0 w 100"/>
                <a:gd name="T47" fmla="*/ 103 h 155"/>
                <a:gd name="T48" fmla="*/ 0 w 100"/>
                <a:gd name="T49" fmla="*/ 93 h 155"/>
                <a:gd name="T50" fmla="*/ 0 w 100"/>
                <a:gd name="T51" fmla="*/ 77 h 155"/>
                <a:gd name="T52" fmla="*/ 0 w 100"/>
                <a:gd name="T53" fmla="*/ 65 h 155"/>
                <a:gd name="T54" fmla="*/ 0 w 100"/>
                <a:gd name="T55" fmla="*/ 56 h 155"/>
                <a:gd name="T56" fmla="*/ 0 w 100"/>
                <a:gd name="T57" fmla="*/ 50 h 155"/>
                <a:gd name="T58" fmla="*/ 15 w 100"/>
                <a:gd name="T59" fmla="*/ 50 h 155"/>
                <a:gd name="T60" fmla="*/ 26 w 100"/>
                <a:gd name="T61" fmla="*/ 50 h 155"/>
                <a:gd name="T62" fmla="*/ 26 w 100"/>
                <a:gd name="T63" fmla="*/ 40 h 155"/>
                <a:gd name="T64" fmla="*/ 27 w 100"/>
                <a:gd name="T65" fmla="*/ 31 h 155"/>
                <a:gd name="T66" fmla="*/ 29 w 100"/>
                <a:gd name="T67" fmla="*/ 23 h 155"/>
                <a:gd name="T68" fmla="*/ 31 w 100"/>
                <a:gd name="T69" fmla="*/ 17 h 155"/>
                <a:gd name="T70" fmla="*/ 35 w 100"/>
                <a:gd name="T71" fmla="*/ 12 h 155"/>
                <a:gd name="T72" fmla="*/ 39 w 100"/>
                <a:gd name="T73" fmla="*/ 7 h 155"/>
                <a:gd name="T74" fmla="*/ 42 w 100"/>
                <a:gd name="T75" fmla="*/ 4 h 155"/>
                <a:gd name="T76" fmla="*/ 48 w 100"/>
                <a:gd name="T77" fmla="*/ 2 h 155"/>
                <a:gd name="T78" fmla="*/ 59 w 100"/>
                <a:gd name="T79" fmla="*/ 0 h 155"/>
                <a:gd name="T80" fmla="*/ 71 w 100"/>
                <a:gd name="T81" fmla="*/ 0 h 155"/>
                <a:gd name="T82" fmla="*/ 84 w 100"/>
                <a:gd name="T83" fmla="*/ 0 h 155"/>
                <a:gd name="T84" fmla="*/ 100 w 100"/>
                <a:gd name="T85" fmla="*/ 1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556" name="Group 535">
              <a:extLst>
                <a:ext uri="{FF2B5EF4-FFF2-40B4-BE49-F238E27FC236}">
                  <a16:creationId xmlns="" xmlns:a16="http://schemas.microsoft.com/office/drawing/2014/main" id="{BAB4E731-40A4-D042-8363-337C1355D948}"/>
                </a:ext>
              </a:extLst>
            </p:cNvPr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4583113" y="2328863"/>
              <a:ext cx="482600" cy="201612"/>
              <a:chOff x="3289" y="1830"/>
              <a:chExt cx="363" cy="128"/>
            </a:xfrm>
          </p:grpSpPr>
          <p:sp>
            <p:nvSpPr>
              <p:cNvPr id="557" name="Freeform 536">
                <a:extLst>
                  <a:ext uri="{FF2B5EF4-FFF2-40B4-BE49-F238E27FC236}">
                    <a16:creationId xmlns="" xmlns:a16="http://schemas.microsoft.com/office/drawing/2014/main" id="{619958C5-4F0E-EF4E-9975-7B29248763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8" name="Freeform 537">
                <a:extLst>
                  <a:ext uri="{FF2B5EF4-FFF2-40B4-BE49-F238E27FC236}">
                    <a16:creationId xmlns="" xmlns:a16="http://schemas.microsoft.com/office/drawing/2014/main" id="{E8D31279-220F-1941-A12E-56F02CF247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59" name="Freeform 538">
                <a:extLst>
                  <a:ext uri="{FF2B5EF4-FFF2-40B4-BE49-F238E27FC236}">
                    <a16:creationId xmlns="" xmlns:a16="http://schemas.microsoft.com/office/drawing/2014/main" id="{606E8EA9-3AA6-1642-84AA-902169DD8D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0" name="Freeform 539">
                <a:extLst>
                  <a:ext uri="{FF2B5EF4-FFF2-40B4-BE49-F238E27FC236}">
                    <a16:creationId xmlns="" xmlns:a16="http://schemas.microsoft.com/office/drawing/2014/main" id="{018128CE-D31B-4240-B488-E15CA43776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561" name="Freeform 540">
                <a:extLst>
                  <a:ext uri="{FF2B5EF4-FFF2-40B4-BE49-F238E27FC236}">
                    <a16:creationId xmlns="" xmlns:a16="http://schemas.microsoft.com/office/drawing/2014/main" id="{958599F2-7A4B-9044-BC69-5868975919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562" name="Freeform 541">
              <a:extLst>
                <a:ext uri="{FF2B5EF4-FFF2-40B4-BE49-F238E27FC236}">
                  <a16:creationId xmlns="" xmlns:a16="http://schemas.microsoft.com/office/drawing/2014/main" id="{F0699FBD-5BEA-4240-8D5C-FE5C45316817}"/>
                </a:ext>
              </a:extLst>
            </p:cNvPr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2571750" y="3481388"/>
              <a:ext cx="100013" cy="122237"/>
            </a:xfrm>
            <a:custGeom>
              <a:avLst/>
              <a:gdLst>
                <a:gd name="T0" fmla="*/ 63 w 226"/>
                <a:gd name="T1" fmla="*/ 236 h 237"/>
                <a:gd name="T2" fmla="*/ 68 w 226"/>
                <a:gd name="T3" fmla="*/ 237 h 237"/>
                <a:gd name="T4" fmla="*/ 75 w 226"/>
                <a:gd name="T5" fmla="*/ 235 h 237"/>
                <a:gd name="T6" fmla="*/ 83 w 226"/>
                <a:gd name="T7" fmla="*/ 234 h 237"/>
                <a:gd name="T8" fmla="*/ 89 w 226"/>
                <a:gd name="T9" fmla="*/ 230 h 237"/>
                <a:gd name="T10" fmla="*/ 96 w 226"/>
                <a:gd name="T11" fmla="*/ 223 h 237"/>
                <a:gd name="T12" fmla="*/ 99 w 226"/>
                <a:gd name="T13" fmla="*/ 214 h 237"/>
                <a:gd name="T14" fmla="*/ 123 w 226"/>
                <a:gd name="T15" fmla="*/ 209 h 237"/>
                <a:gd name="T16" fmla="*/ 166 w 226"/>
                <a:gd name="T17" fmla="*/ 205 h 237"/>
                <a:gd name="T18" fmla="*/ 195 w 226"/>
                <a:gd name="T19" fmla="*/ 198 h 237"/>
                <a:gd name="T20" fmla="*/ 209 w 226"/>
                <a:gd name="T21" fmla="*/ 191 h 237"/>
                <a:gd name="T22" fmla="*/ 220 w 226"/>
                <a:gd name="T23" fmla="*/ 181 h 237"/>
                <a:gd name="T24" fmla="*/ 225 w 226"/>
                <a:gd name="T25" fmla="*/ 168 h 237"/>
                <a:gd name="T26" fmla="*/ 226 w 226"/>
                <a:gd name="T27" fmla="*/ 153 h 237"/>
                <a:gd name="T28" fmla="*/ 223 w 226"/>
                <a:gd name="T29" fmla="*/ 140 h 237"/>
                <a:gd name="T30" fmla="*/ 215 w 226"/>
                <a:gd name="T31" fmla="*/ 123 h 237"/>
                <a:gd name="T32" fmla="*/ 203 w 226"/>
                <a:gd name="T33" fmla="*/ 100 h 237"/>
                <a:gd name="T34" fmla="*/ 196 w 226"/>
                <a:gd name="T35" fmla="*/ 84 h 237"/>
                <a:gd name="T36" fmla="*/ 193 w 226"/>
                <a:gd name="T37" fmla="*/ 74 h 237"/>
                <a:gd name="T38" fmla="*/ 195 w 226"/>
                <a:gd name="T39" fmla="*/ 59 h 237"/>
                <a:gd name="T40" fmla="*/ 200 w 226"/>
                <a:gd name="T41" fmla="*/ 43 h 237"/>
                <a:gd name="T42" fmla="*/ 213 w 226"/>
                <a:gd name="T43" fmla="*/ 25 h 237"/>
                <a:gd name="T44" fmla="*/ 213 w 226"/>
                <a:gd name="T45" fmla="*/ 14 h 237"/>
                <a:gd name="T46" fmla="*/ 191 w 226"/>
                <a:gd name="T47" fmla="*/ 7 h 237"/>
                <a:gd name="T48" fmla="*/ 154 w 226"/>
                <a:gd name="T49" fmla="*/ 2 h 237"/>
                <a:gd name="T50" fmla="*/ 20 w 226"/>
                <a:gd name="T51" fmla="*/ 6 h 237"/>
                <a:gd name="T52" fmla="*/ 18 w 226"/>
                <a:gd name="T53" fmla="*/ 31 h 237"/>
                <a:gd name="T54" fmla="*/ 10 w 226"/>
                <a:gd name="T55" fmla="*/ 54 h 237"/>
                <a:gd name="T56" fmla="*/ 3 w 226"/>
                <a:gd name="T57" fmla="*/ 79 h 237"/>
                <a:gd name="T58" fmla="*/ 0 w 226"/>
                <a:gd name="T59" fmla="*/ 111 h 237"/>
                <a:gd name="T60" fmla="*/ 3 w 226"/>
                <a:gd name="T61" fmla="*/ 130 h 237"/>
                <a:gd name="T62" fmla="*/ 10 w 226"/>
                <a:gd name="T63" fmla="*/ 146 h 237"/>
                <a:gd name="T64" fmla="*/ 30 w 226"/>
                <a:gd name="T65" fmla="*/ 173 h 237"/>
                <a:gd name="T66" fmla="*/ 51 w 226"/>
                <a:gd name="T67" fmla="*/ 199 h 237"/>
                <a:gd name="T68" fmla="*/ 57 w 226"/>
                <a:gd name="T69" fmla="*/ 216 h 237"/>
                <a:gd name="T70" fmla="*/ 61 w 226"/>
                <a:gd name="T71" fmla="*/ 234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3" name="Freeform 542">
              <a:extLst>
                <a:ext uri="{FF2B5EF4-FFF2-40B4-BE49-F238E27FC236}">
                  <a16:creationId xmlns="" xmlns:a16="http://schemas.microsoft.com/office/drawing/2014/main" id="{34669008-BB24-7447-BE3E-E074A38D4DE0}"/>
                </a:ext>
              </a:extLst>
            </p:cNvPr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516688" y="2917825"/>
              <a:ext cx="207962" cy="458788"/>
            </a:xfrm>
            <a:custGeom>
              <a:avLst/>
              <a:gdLst>
                <a:gd name="T0" fmla="*/ 287 w 478"/>
                <a:gd name="T1" fmla="*/ 109 h 875"/>
                <a:gd name="T2" fmla="*/ 250 w 478"/>
                <a:gd name="T3" fmla="*/ 138 h 875"/>
                <a:gd name="T4" fmla="*/ 199 w 478"/>
                <a:gd name="T5" fmla="*/ 197 h 875"/>
                <a:gd name="T6" fmla="*/ 198 w 478"/>
                <a:gd name="T7" fmla="*/ 213 h 875"/>
                <a:gd name="T8" fmla="*/ 206 w 478"/>
                <a:gd name="T9" fmla="*/ 239 h 875"/>
                <a:gd name="T10" fmla="*/ 221 w 478"/>
                <a:gd name="T11" fmla="*/ 265 h 875"/>
                <a:gd name="T12" fmla="*/ 240 w 478"/>
                <a:gd name="T13" fmla="*/ 288 h 875"/>
                <a:gd name="T14" fmla="*/ 259 w 478"/>
                <a:gd name="T15" fmla="*/ 301 h 875"/>
                <a:gd name="T16" fmla="*/ 279 w 478"/>
                <a:gd name="T17" fmla="*/ 329 h 875"/>
                <a:gd name="T18" fmla="*/ 295 w 478"/>
                <a:gd name="T19" fmla="*/ 361 h 875"/>
                <a:gd name="T20" fmla="*/ 305 w 478"/>
                <a:gd name="T21" fmla="*/ 369 h 875"/>
                <a:gd name="T22" fmla="*/ 438 w 478"/>
                <a:gd name="T23" fmla="*/ 499 h 875"/>
                <a:gd name="T24" fmla="*/ 471 w 478"/>
                <a:gd name="T25" fmla="*/ 589 h 875"/>
                <a:gd name="T26" fmla="*/ 478 w 478"/>
                <a:gd name="T27" fmla="*/ 647 h 875"/>
                <a:gd name="T28" fmla="*/ 476 w 478"/>
                <a:gd name="T29" fmla="*/ 687 h 875"/>
                <a:gd name="T30" fmla="*/ 478 w 478"/>
                <a:gd name="T31" fmla="*/ 708 h 875"/>
                <a:gd name="T32" fmla="*/ 447 w 478"/>
                <a:gd name="T33" fmla="*/ 718 h 875"/>
                <a:gd name="T34" fmla="*/ 420 w 478"/>
                <a:gd name="T35" fmla="*/ 733 h 875"/>
                <a:gd name="T36" fmla="*/ 391 w 478"/>
                <a:gd name="T37" fmla="*/ 756 h 875"/>
                <a:gd name="T38" fmla="*/ 365 w 478"/>
                <a:gd name="T39" fmla="*/ 789 h 875"/>
                <a:gd name="T40" fmla="*/ 348 w 478"/>
                <a:gd name="T41" fmla="*/ 785 h 875"/>
                <a:gd name="T42" fmla="*/ 319 w 478"/>
                <a:gd name="T43" fmla="*/ 789 h 875"/>
                <a:gd name="T44" fmla="*/ 313 w 478"/>
                <a:gd name="T45" fmla="*/ 804 h 875"/>
                <a:gd name="T46" fmla="*/ 289 w 478"/>
                <a:gd name="T47" fmla="*/ 838 h 875"/>
                <a:gd name="T48" fmla="*/ 256 w 478"/>
                <a:gd name="T49" fmla="*/ 868 h 875"/>
                <a:gd name="T50" fmla="*/ 239 w 478"/>
                <a:gd name="T51" fmla="*/ 875 h 875"/>
                <a:gd name="T52" fmla="*/ 232 w 478"/>
                <a:gd name="T53" fmla="*/ 868 h 875"/>
                <a:gd name="T54" fmla="*/ 225 w 478"/>
                <a:gd name="T55" fmla="*/ 844 h 875"/>
                <a:gd name="T56" fmla="*/ 231 w 478"/>
                <a:gd name="T57" fmla="*/ 800 h 875"/>
                <a:gd name="T58" fmla="*/ 253 w 478"/>
                <a:gd name="T59" fmla="*/ 775 h 875"/>
                <a:gd name="T60" fmla="*/ 277 w 478"/>
                <a:gd name="T61" fmla="*/ 760 h 875"/>
                <a:gd name="T62" fmla="*/ 295 w 478"/>
                <a:gd name="T63" fmla="*/ 753 h 875"/>
                <a:gd name="T64" fmla="*/ 305 w 478"/>
                <a:gd name="T65" fmla="*/ 743 h 875"/>
                <a:gd name="T66" fmla="*/ 314 w 478"/>
                <a:gd name="T67" fmla="*/ 714 h 875"/>
                <a:gd name="T68" fmla="*/ 330 w 478"/>
                <a:gd name="T69" fmla="*/ 686 h 875"/>
                <a:gd name="T70" fmla="*/ 365 w 478"/>
                <a:gd name="T71" fmla="*/ 643 h 875"/>
                <a:gd name="T72" fmla="*/ 371 w 478"/>
                <a:gd name="T73" fmla="*/ 536 h 875"/>
                <a:gd name="T74" fmla="*/ 364 w 478"/>
                <a:gd name="T75" fmla="*/ 475 h 875"/>
                <a:gd name="T76" fmla="*/ 341 w 478"/>
                <a:gd name="T77" fmla="*/ 427 h 875"/>
                <a:gd name="T78" fmla="*/ 297 w 478"/>
                <a:gd name="T79" fmla="*/ 377 h 875"/>
                <a:gd name="T80" fmla="*/ 219 w 478"/>
                <a:gd name="T81" fmla="*/ 308 h 875"/>
                <a:gd name="T82" fmla="*/ 161 w 478"/>
                <a:gd name="T83" fmla="*/ 255 h 875"/>
                <a:gd name="T84" fmla="*/ 108 w 478"/>
                <a:gd name="T85" fmla="*/ 198 h 875"/>
                <a:gd name="T86" fmla="*/ 72 w 478"/>
                <a:gd name="T87" fmla="*/ 146 h 875"/>
                <a:gd name="T88" fmla="*/ 42 w 478"/>
                <a:gd name="T89" fmla="*/ 104 h 875"/>
                <a:gd name="T90" fmla="*/ 46 w 478"/>
                <a:gd name="T91" fmla="*/ 41 h 875"/>
                <a:gd name="T92" fmla="*/ 129 w 478"/>
                <a:gd name="T93" fmla="*/ 19 h 875"/>
                <a:gd name="T94" fmla="*/ 148 w 478"/>
                <a:gd name="T95" fmla="*/ 5 h 875"/>
                <a:gd name="T96" fmla="*/ 175 w 478"/>
                <a:gd name="T97" fmla="*/ 16 h 875"/>
                <a:gd name="T98" fmla="*/ 221 w 478"/>
                <a:gd name="T99" fmla="*/ 35 h 875"/>
                <a:gd name="T100" fmla="*/ 269 w 478"/>
                <a:gd name="T101" fmla="*/ 6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D8E046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Freeform 543">
              <a:extLst>
                <a:ext uri="{FF2B5EF4-FFF2-40B4-BE49-F238E27FC236}">
                  <a16:creationId xmlns="" xmlns:a16="http://schemas.microsoft.com/office/drawing/2014/main" id="{E378CD7F-68E4-C742-9257-EDF381499181}"/>
                </a:ext>
              </a:extLst>
            </p:cNvPr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6604000" y="3603625"/>
              <a:ext cx="25400" cy="57150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Freeform 544">
              <a:extLst>
                <a:ext uri="{FF2B5EF4-FFF2-40B4-BE49-F238E27FC236}">
                  <a16:creationId xmlns="" xmlns:a16="http://schemas.microsoft.com/office/drawing/2014/main" id="{C16E0784-2501-FA42-90B7-6A6FB45F7AC9}"/>
                </a:ext>
              </a:extLst>
            </p:cNvPr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5295900" y="2862263"/>
              <a:ext cx="174625" cy="271462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545">
              <a:extLst>
                <a:ext uri="{FF2B5EF4-FFF2-40B4-BE49-F238E27FC236}">
                  <a16:creationId xmlns="" xmlns:a16="http://schemas.microsoft.com/office/drawing/2014/main" id="{77C30AA3-1FC2-5743-AB05-2D11FCCEF5E4}"/>
                </a:ext>
              </a:extLst>
            </p:cNvPr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4022725" y="2916238"/>
              <a:ext cx="376238" cy="385762"/>
            </a:xfrm>
            <a:custGeom>
              <a:avLst/>
              <a:gdLst>
                <a:gd name="T0" fmla="*/ 231 w 866"/>
                <a:gd name="T1" fmla="*/ 270 h 740"/>
                <a:gd name="T2" fmla="*/ 245 w 866"/>
                <a:gd name="T3" fmla="*/ 264 h 740"/>
                <a:gd name="T4" fmla="*/ 272 w 866"/>
                <a:gd name="T5" fmla="*/ 272 h 740"/>
                <a:gd name="T6" fmla="*/ 654 w 866"/>
                <a:gd name="T7" fmla="*/ 1 h 740"/>
                <a:gd name="T8" fmla="*/ 679 w 866"/>
                <a:gd name="T9" fmla="*/ 6 h 740"/>
                <a:gd name="T10" fmla="*/ 711 w 866"/>
                <a:gd name="T11" fmla="*/ 21 h 740"/>
                <a:gd name="T12" fmla="*/ 730 w 866"/>
                <a:gd name="T13" fmla="*/ 35 h 740"/>
                <a:gd name="T14" fmla="*/ 760 w 866"/>
                <a:gd name="T15" fmla="*/ 57 h 740"/>
                <a:gd name="T16" fmla="*/ 791 w 866"/>
                <a:gd name="T17" fmla="*/ 59 h 740"/>
                <a:gd name="T18" fmla="*/ 831 w 866"/>
                <a:gd name="T19" fmla="*/ 43 h 740"/>
                <a:gd name="T20" fmla="*/ 854 w 866"/>
                <a:gd name="T21" fmla="*/ 166 h 740"/>
                <a:gd name="T22" fmla="*/ 866 w 866"/>
                <a:gd name="T23" fmla="*/ 205 h 740"/>
                <a:gd name="T24" fmla="*/ 850 w 866"/>
                <a:gd name="T25" fmla="*/ 301 h 740"/>
                <a:gd name="T26" fmla="*/ 848 w 866"/>
                <a:gd name="T27" fmla="*/ 376 h 740"/>
                <a:gd name="T28" fmla="*/ 834 w 866"/>
                <a:gd name="T29" fmla="*/ 421 h 740"/>
                <a:gd name="T30" fmla="*/ 802 w 866"/>
                <a:gd name="T31" fmla="*/ 467 h 740"/>
                <a:gd name="T32" fmla="*/ 777 w 866"/>
                <a:gd name="T33" fmla="*/ 499 h 740"/>
                <a:gd name="T34" fmla="*/ 758 w 866"/>
                <a:gd name="T35" fmla="*/ 567 h 740"/>
                <a:gd name="T36" fmla="*/ 711 w 866"/>
                <a:gd name="T37" fmla="*/ 629 h 740"/>
                <a:gd name="T38" fmla="*/ 680 w 866"/>
                <a:gd name="T39" fmla="*/ 646 h 740"/>
                <a:gd name="T40" fmla="*/ 644 w 866"/>
                <a:gd name="T41" fmla="*/ 638 h 740"/>
                <a:gd name="T42" fmla="*/ 611 w 866"/>
                <a:gd name="T43" fmla="*/ 625 h 740"/>
                <a:gd name="T44" fmla="*/ 566 w 866"/>
                <a:gd name="T45" fmla="*/ 633 h 740"/>
                <a:gd name="T46" fmla="*/ 530 w 866"/>
                <a:gd name="T47" fmla="*/ 659 h 740"/>
                <a:gd name="T48" fmla="*/ 511 w 866"/>
                <a:gd name="T49" fmla="*/ 680 h 740"/>
                <a:gd name="T50" fmla="*/ 491 w 866"/>
                <a:gd name="T51" fmla="*/ 684 h 740"/>
                <a:gd name="T52" fmla="*/ 470 w 866"/>
                <a:gd name="T53" fmla="*/ 668 h 740"/>
                <a:gd name="T54" fmla="*/ 446 w 866"/>
                <a:gd name="T55" fmla="*/ 639 h 740"/>
                <a:gd name="T56" fmla="*/ 421 w 866"/>
                <a:gd name="T57" fmla="*/ 635 h 740"/>
                <a:gd name="T58" fmla="*/ 405 w 866"/>
                <a:gd name="T59" fmla="*/ 647 h 740"/>
                <a:gd name="T60" fmla="*/ 384 w 866"/>
                <a:gd name="T61" fmla="*/ 652 h 740"/>
                <a:gd name="T62" fmla="*/ 350 w 866"/>
                <a:gd name="T63" fmla="*/ 638 h 740"/>
                <a:gd name="T64" fmla="*/ 306 w 866"/>
                <a:gd name="T65" fmla="*/ 608 h 740"/>
                <a:gd name="T66" fmla="*/ 271 w 866"/>
                <a:gd name="T67" fmla="*/ 604 h 740"/>
                <a:gd name="T68" fmla="*/ 237 w 866"/>
                <a:gd name="T69" fmla="*/ 620 h 740"/>
                <a:gd name="T70" fmla="*/ 209 w 866"/>
                <a:gd name="T71" fmla="*/ 653 h 740"/>
                <a:gd name="T72" fmla="*/ 190 w 866"/>
                <a:gd name="T73" fmla="*/ 692 h 740"/>
                <a:gd name="T74" fmla="*/ 178 w 866"/>
                <a:gd name="T75" fmla="*/ 719 h 740"/>
                <a:gd name="T76" fmla="*/ 149 w 866"/>
                <a:gd name="T77" fmla="*/ 702 h 740"/>
                <a:gd name="T78" fmla="*/ 100 w 866"/>
                <a:gd name="T79" fmla="*/ 740 h 740"/>
                <a:gd name="T80" fmla="*/ 66 w 866"/>
                <a:gd name="T81" fmla="*/ 699 h 740"/>
                <a:gd name="T82" fmla="*/ 64 w 866"/>
                <a:gd name="T83" fmla="*/ 644 h 740"/>
                <a:gd name="T84" fmla="*/ 50 w 866"/>
                <a:gd name="T85" fmla="*/ 613 h 740"/>
                <a:gd name="T86" fmla="*/ 20 w 866"/>
                <a:gd name="T87" fmla="*/ 587 h 740"/>
                <a:gd name="T88" fmla="*/ 5 w 866"/>
                <a:gd name="T89" fmla="*/ 558 h 740"/>
                <a:gd name="T90" fmla="*/ 53 w 866"/>
                <a:gd name="T91" fmla="*/ 530 h 740"/>
                <a:gd name="T92" fmla="*/ 76 w 866"/>
                <a:gd name="T93" fmla="*/ 518 h 740"/>
                <a:gd name="T94" fmla="*/ 139 w 866"/>
                <a:gd name="T95" fmla="*/ 510 h 740"/>
                <a:gd name="T96" fmla="*/ 182 w 866"/>
                <a:gd name="T97" fmla="*/ 500 h 740"/>
                <a:gd name="T98" fmla="*/ 201 w 866"/>
                <a:gd name="T99" fmla="*/ 475 h 740"/>
                <a:gd name="T100" fmla="*/ 219 w 866"/>
                <a:gd name="T101" fmla="*/ 424 h 740"/>
                <a:gd name="T102" fmla="*/ 224 w 866"/>
                <a:gd name="T103" fmla="*/ 367 h 740"/>
                <a:gd name="T104" fmla="*/ 219 w 866"/>
                <a:gd name="T105" fmla="*/ 320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546">
              <a:extLst>
                <a:ext uri="{FF2B5EF4-FFF2-40B4-BE49-F238E27FC236}">
                  <a16:creationId xmlns="" xmlns:a16="http://schemas.microsoft.com/office/drawing/2014/main" id="{B30CAFB4-DC4C-A045-8A24-B869F694979B}"/>
                </a:ext>
              </a:extLst>
            </p:cNvPr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3692525" y="2533650"/>
              <a:ext cx="300038" cy="260350"/>
            </a:xfrm>
            <a:custGeom>
              <a:avLst/>
              <a:gdLst>
                <a:gd name="T0" fmla="*/ 648 w 697"/>
                <a:gd name="T1" fmla="*/ 53 h 500"/>
                <a:gd name="T2" fmla="*/ 657 w 697"/>
                <a:gd name="T3" fmla="*/ 161 h 500"/>
                <a:gd name="T4" fmla="*/ 661 w 697"/>
                <a:gd name="T5" fmla="*/ 167 h 500"/>
                <a:gd name="T6" fmla="*/ 677 w 697"/>
                <a:gd name="T7" fmla="*/ 177 h 500"/>
                <a:gd name="T8" fmla="*/ 694 w 697"/>
                <a:gd name="T9" fmla="*/ 189 h 500"/>
                <a:gd name="T10" fmla="*/ 697 w 697"/>
                <a:gd name="T11" fmla="*/ 198 h 500"/>
                <a:gd name="T12" fmla="*/ 694 w 697"/>
                <a:gd name="T13" fmla="*/ 211 h 500"/>
                <a:gd name="T14" fmla="*/ 685 w 697"/>
                <a:gd name="T15" fmla="*/ 217 h 500"/>
                <a:gd name="T16" fmla="*/ 655 w 697"/>
                <a:gd name="T17" fmla="*/ 218 h 500"/>
                <a:gd name="T18" fmla="*/ 605 w 697"/>
                <a:gd name="T19" fmla="*/ 228 h 500"/>
                <a:gd name="T20" fmla="*/ 567 w 697"/>
                <a:gd name="T21" fmla="*/ 250 h 500"/>
                <a:gd name="T22" fmla="*/ 549 w 697"/>
                <a:gd name="T23" fmla="*/ 267 h 500"/>
                <a:gd name="T24" fmla="*/ 539 w 697"/>
                <a:gd name="T25" fmla="*/ 288 h 500"/>
                <a:gd name="T26" fmla="*/ 521 w 697"/>
                <a:gd name="T27" fmla="*/ 302 h 500"/>
                <a:gd name="T28" fmla="*/ 491 w 697"/>
                <a:gd name="T29" fmla="*/ 324 h 500"/>
                <a:gd name="T30" fmla="*/ 455 w 697"/>
                <a:gd name="T31" fmla="*/ 352 h 500"/>
                <a:gd name="T32" fmla="*/ 420 w 697"/>
                <a:gd name="T33" fmla="*/ 370 h 500"/>
                <a:gd name="T34" fmla="*/ 372 w 697"/>
                <a:gd name="T35" fmla="*/ 377 h 500"/>
                <a:gd name="T36" fmla="*/ 344 w 697"/>
                <a:gd name="T37" fmla="*/ 380 h 500"/>
                <a:gd name="T38" fmla="*/ 316 w 697"/>
                <a:gd name="T39" fmla="*/ 396 h 500"/>
                <a:gd name="T40" fmla="*/ 290 w 697"/>
                <a:gd name="T41" fmla="*/ 417 h 500"/>
                <a:gd name="T42" fmla="*/ 265 w 697"/>
                <a:gd name="T43" fmla="*/ 426 h 500"/>
                <a:gd name="T44" fmla="*/ 5 w 697"/>
                <a:gd name="T45" fmla="*/ 496 h 500"/>
                <a:gd name="T46" fmla="*/ 32 w 697"/>
                <a:gd name="T47" fmla="*/ 487 h 500"/>
                <a:gd name="T48" fmla="*/ 85 w 697"/>
                <a:gd name="T49" fmla="*/ 473 h 500"/>
                <a:gd name="T50" fmla="*/ 93 w 697"/>
                <a:gd name="T51" fmla="*/ 459 h 500"/>
                <a:gd name="T52" fmla="*/ 99 w 697"/>
                <a:gd name="T53" fmla="*/ 438 h 500"/>
                <a:gd name="T54" fmla="*/ 119 w 697"/>
                <a:gd name="T55" fmla="*/ 422 h 500"/>
                <a:gd name="T56" fmla="*/ 160 w 697"/>
                <a:gd name="T57" fmla="*/ 399 h 500"/>
                <a:gd name="T58" fmla="*/ 181 w 697"/>
                <a:gd name="T59" fmla="*/ 382 h 500"/>
                <a:gd name="T60" fmla="*/ 192 w 697"/>
                <a:gd name="T61" fmla="*/ 357 h 500"/>
                <a:gd name="T62" fmla="*/ 193 w 697"/>
                <a:gd name="T63" fmla="*/ 316 h 500"/>
                <a:gd name="T64" fmla="*/ 195 w 697"/>
                <a:gd name="T65" fmla="*/ 254 h 500"/>
                <a:gd name="T66" fmla="*/ 192 w 697"/>
                <a:gd name="T67" fmla="*/ 192 h 500"/>
                <a:gd name="T68" fmla="*/ 214 w 697"/>
                <a:gd name="T69" fmla="*/ 189 h 500"/>
                <a:gd name="T70" fmla="*/ 228 w 697"/>
                <a:gd name="T71" fmla="*/ 179 h 500"/>
                <a:gd name="T72" fmla="*/ 241 w 697"/>
                <a:gd name="T73" fmla="*/ 165 h 500"/>
                <a:gd name="T74" fmla="*/ 252 w 697"/>
                <a:gd name="T75" fmla="*/ 152 h 500"/>
                <a:gd name="T76" fmla="*/ 281 w 697"/>
                <a:gd name="T77" fmla="*/ 146 h 500"/>
                <a:gd name="T78" fmla="*/ 314 w 697"/>
                <a:gd name="T79" fmla="*/ 143 h 500"/>
                <a:gd name="T80" fmla="*/ 340 w 697"/>
                <a:gd name="T81" fmla="*/ 131 h 500"/>
                <a:gd name="T82" fmla="*/ 360 w 697"/>
                <a:gd name="T83" fmla="*/ 108 h 500"/>
                <a:gd name="T84" fmla="*/ 388 w 697"/>
                <a:gd name="T85" fmla="*/ 48 h 500"/>
                <a:gd name="T86" fmla="*/ 407 w 697"/>
                <a:gd name="T87" fmla="*/ 12 h 500"/>
                <a:gd name="T88" fmla="*/ 426 w 697"/>
                <a:gd name="T89" fmla="*/ 8 h 500"/>
                <a:gd name="T90" fmla="*/ 449 w 697"/>
                <a:gd name="T91" fmla="*/ 20 h 500"/>
                <a:gd name="T92" fmla="*/ 512 w 697"/>
                <a:gd name="T93" fmla="*/ 18 h 500"/>
                <a:gd name="T94" fmla="*/ 590 w 697"/>
                <a:gd name="T95" fmla="*/ 13 h 500"/>
                <a:gd name="T96" fmla="*/ 597 w 697"/>
                <a:gd name="T97" fmla="*/ 17 h 500"/>
                <a:gd name="T98" fmla="*/ 605 w 697"/>
                <a:gd name="T99" fmla="*/ 36 h 500"/>
                <a:gd name="T100" fmla="*/ 611 w 697"/>
                <a:gd name="T101" fmla="*/ 51 h 500"/>
                <a:gd name="T102" fmla="*/ 618 w 697"/>
                <a:gd name="T103" fmla="*/ 50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547">
              <a:extLst>
                <a:ext uri="{FF2B5EF4-FFF2-40B4-BE49-F238E27FC236}">
                  <a16:creationId xmlns="" xmlns:a16="http://schemas.microsoft.com/office/drawing/2014/main" id="{E2196658-3792-BF43-90B4-F56C23725D31}"/>
                </a:ext>
              </a:extLst>
            </p:cNvPr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4392613" y="1463675"/>
              <a:ext cx="236537" cy="92075"/>
            </a:xfrm>
            <a:custGeom>
              <a:avLst/>
              <a:gdLst>
                <a:gd name="T0" fmla="*/ 74 w 546"/>
                <a:gd name="T1" fmla="*/ 19 h 173"/>
                <a:gd name="T2" fmla="*/ 94 w 546"/>
                <a:gd name="T3" fmla="*/ 34 h 173"/>
                <a:gd name="T4" fmla="*/ 110 w 546"/>
                <a:gd name="T5" fmla="*/ 27 h 173"/>
                <a:gd name="T6" fmla="*/ 132 w 546"/>
                <a:gd name="T7" fmla="*/ 27 h 173"/>
                <a:gd name="T8" fmla="*/ 161 w 546"/>
                <a:gd name="T9" fmla="*/ 44 h 173"/>
                <a:gd name="T10" fmla="*/ 209 w 546"/>
                <a:gd name="T11" fmla="*/ 19 h 173"/>
                <a:gd name="T12" fmla="*/ 243 w 546"/>
                <a:gd name="T13" fmla="*/ 19 h 173"/>
                <a:gd name="T14" fmla="*/ 260 w 546"/>
                <a:gd name="T15" fmla="*/ 16 h 173"/>
                <a:gd name="T16" fmla="*/ 269 w 546"/>
                <a:gd name="T17" fmla="*/ 14 h 173"/>
                <a:gd name="T18" fmla="*/ 279 w 546"/>
                <a:gd name="T19" fmla="*/ 11 h 173"/>
                <a:gd name="T20" fmla="*/ 286 w 546"/>
                <a:gd name="T21" fmla="*/ 3 h 173"/>
                <a:gd name="T22" fmla="*/ 321 w 546"/>
                <a:gd name="T23" fmla="*/ 5 h 173"/>
                <a:gd name="T24" fmla="*/ 333 w 546"/>
                <a:gd name="T25" fmla="*/ 12 h 173"/>
                <a:gd name="T26" fmla="*/ 348 w 546"/>
                <a:gd name="T27" fmla="*/ 7 h 173"/>
                <a:gd name="T28" fmla="*/ 353 w 546"/>
                <a:gd name="T29" fmla="*/ 0 h 173"/>
                <a:gd name="T30" fmla="*/ 367 w 546"/>
                <a:gd name="T31" fmla="*/ 7 h 173"/>
                <a:gd name="T32" fmla="*/ 389 w 546"/>
                <a:gd name="T33" fmla="*/ 7 h 173"/>
                <a:gd name="T34" fmla="*/ 436 w 546"/>
                <a:gd name="T35" fmla="*/ 1 h 173"/>
                <a:gd name="T36" fmla="*/ 482 w 546"/>
                <a:gd name="T37" fmla="*/ 6 h 173"/>
                <a:gd name="T38" fmla="*/ 528 w 546"/>
                <a:gd name="T39" fmla="*/ 12 h 173"/>
                <a:gd name="T40" fmla="*/ 545 w 546"/>
                <a:gd name="T41" fmla="*/ 49 h 173"/>
                <a:gd name="T42" fmla="*/ 537 w 546"/>
                <a:gd name="T43" fmla="*/ 60 h 173"/>
                <a:gd name="T44" fmla="*/ 513 w 546"/>
                <a:gd name="T45" fmla="*/ 62 h 173"/>
                <a:gd name="T46" fmla="*/ 483 w 546"/>
                <a:gd name="T47" fmla="*/ 54 h 173"/>
                <a:gd name="T48" fmla="*/ 413 w 546"/>
                <a:gd name="T49" fmla="*/ 44 h 173"/>
                <a:gd name="T50" fmla="*/ 438 w 546"/>
                <a:gd name="T51" fmla="*/ 81 h 173"/>
                <a:gd name="T52" fmla="*/ 471 w 546"/>
                <a:gd name="T53" fmla="*/ 102 h 173"/>
                <a:gd name="T54" fmla="*/ 493 w 546"/>
                <a:gd name="T55" fmla="*/ 119 h 173"/>
                <a:gd name="T56" fmla="*/ 475 w 546"/>
                <a:gd name="T57" fmla="*/ 136 h 173"/>
                <a:gd name="T58" fmla="*/ 449 w 546"/>
                <a:gd name="T59" fmla="*/ 142 h 173"/>
                <a:gd name="T60" fmla="*/ 426 w 546"/>
                <a:gd name="T61" fmla="*/ 141 h 173"/>
                <a:gd name="T62" fmla="*/ 412 w 546"/>
                <a:gd name="T63" fmla="*/ 134 h 173"/>
                <a:gd name="T64" fmla="*/ 399 w 546"/>
                <a:gd name="T65" fmla="*/ 130 h 173"/>
                <a:gd name="T66" fmla="*/ 385 w 546"/>
                <a:gd name="T67" fmla="*/ 121 h 173"/>
                <a:gd name="T68" fmla="*/ 375 w 546"/>
                <a:gd name="T69" fmla="*/ 104 h 173"/>
                <a:gd name="T70" fmla="*/ 365 w 546"/>
                <a:gd name="T71" fmla="*/ 92 h 173"/>
                <a:gd name="T72" fmla="*/ 344 w 546"/>
                <a:gd name="T73" fmla="*/ 84 h 173"/>
                <a:gd name="T74" fmla="*/ 325 w 546"/>
                <a:gd name="T75" fmla="*/ 76 h 173"/>
                <a:gd name="T76" fmla="*/ 303 w 546"/>
                <a:gd name="T77" fmla="*/ 87 h 173"/>
                <a:gd name="T78" fmla="*/ 258 w 546"/>
                <a:gd name="T79" fmla="*/ 134 h 173"/>
                <a:gd name="T80" fmla="*/ 236 w 546"/>
                <a:gd name="T81" fmla="*/ 163 h 173"/>
                <a:gd name="T82" fmla="*/ 220 w 546"/>
                <a:gd name="T83" fmla="*/ 172 h 173"/>
                <a:gd name="T84" fmla="*/ 188 w 546"/>
                <a:gd name="T85" fmla="*/ 167 h 173"/>
                <a:gd name="T86" fmla="*/ 165 w 546"/>
                <a:gd name="T87" fmla="*/ 155 h 173"/>
                <a:gd name="T88" fmla="*/ 113 w 546"/>
                <a:gd name="T89" fmla="*/ 105 h 173"/>
                <a:gd name="T90" fmla="*/ 95 w 546"/>
                <a:gd name="T91" fmla="*/ 91 h 173"/>
                <a:gd name="T92" fmla="*/ 60 w 546"/>
                <a:gd name="T93" fmla="*/ 76 h 173"/>
                <a:gd name="T94" fmla="*/ 16 w 546"/>
                <a:gd name="T95" fmla="*/ 58 h 173"/>
                <a:gd name="T96" fmla="*/ 11 w 546"/>
                <a:gd name="T97" fmla="*/ 34 h 173"/>
                <a:gd name="T98" fmla="*/ 28 w 546"/>
                <a:gd name="T99" fmla="*/ 19 h 173"/>
                <a:gd name="T100" fmla="*/ 47 w 546"/>
                <a:gd name="T101" fmla="*/ 12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69" name="Freeform 548">
              <a:extLst>
                <a:ext uri="{FF2B5EF4-FFF2-40B4-BE49-F238E27FC236}">
                  <a16:creationId xmlns="" xmlns:a16="http://schemas.microsoft.com/office/drawing/2014/main" id="{C3BFB220-3829-3E40-9BAB-3615A7D559BD}"/>
                </a:ext>
              </a:extLst>
            </p:cNvPr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4903788" y="1447800"/>
              <a:ext cx="107950" cy="60325"/>
            </a:xfrm>
            <a:custGeom>
              <a:avLst/>
              <a:gdLst>
                <a:gd name="T0" fmla="*/ 27 w 246"/>
                <a:gd name="T1" fmla="*/ 36 h 42"/>
                <a:gd name="T2" fmla="*/ 36 w 246"/>
                <a:gd name="T3" fmla="*/ 36 h 42"/>
                <a:gd name="T4" fmla="*/ 45 w 246"/>
                <a:gd name="T5" fmla="*/ 35 h 42"/>
                <a:gd name="T6" fmla="*/ 53 w 246"/>
                <a:gd name="T7" fmla="*/ 33 h 42"/>
                <a:gd name="T8" fmla="*/ 59 w 246"/>
                <a:gd name="T9" fmla="*/ 31 h 42"/>
                <a:gd name="T10" fmla="*/ 66 w 246"/>
                <a:gd name="T11" fmla="*/ 30 h 42"/>
                <a:gd name="T12" fmla="*/ 72 w 246"/>
                <a:gd name="T13" fmla="*/ 29 h 42"/>
                <a:gd name="T14" fmla="*/ 80 w 246"/>
                <a:gd name="T15" fmla="*/ 29 h 42"/>
                <a:gd name="T16" fmla="*/ 87 w 246"/>
                <a:gd name="T17" fmla="*/ 30 h 42"/>
                <a:gd name="T18" fmla="*/ 87 w 246"/>
                <a:gd name="T19" fmla="*/ 42 h 42"/>
                <a:gd name="T20" fmla="*/ 154 w 246"/>
                <a:gd name="T21" fmla="*/ 42 h 42"/>
                <a:gd name="T22" fmla="*/ 154 w 246"/>
                <a:gd name="T23" fmla="*/ 39 h 42"/>
                <a:gd name="T24" fmla="*/ 156 w 246"/>
                <a:gd name="T25" fmla="*/ 36 h 42"/>
                <a:gd name="T26" fmla="*/ 159 w 246"/>
                <a:gd name="T27" fmla="*/ 33 h 42"/>
                <a:gd name="T28" fmla="*/ 163 w 246"/>
                <a:gd name="T29" fmla="*/ 31 h 42"/>
                <a:gd name="T30" fmla="*/ 175 w 246"/>
                <a:gd name="T31" fmla="*/ 26 h 42"/>
                <a:gd name="T32" fmla="*/ 190 w 246"/>
                <a:gd name="T33" fmla="*/ 23 h 42"/>
                <a:gd name="T34" fmla="*/ 221 w 246"/>
                <a:gd name="T35" fmla="*/ 17 h 42"/>
                <a:gd name="T36" fmla="*/ 246 w 246"/>
                <a:gd name="T37" fmla="*/ 12 h 42"/>
                <a:gd name="T38" fmla="*/ 212 w 246"/>
                <a:gd name="T39" fmla="*/ 13 h 42"/>
                <a:gd name="T40" fmla="*/ 186 w 246"/>
                <a:gd name="T41" fmla="*/ 14 h 42"/>
                <a:gd name="T42" fmla="*/ 178 w 246"/>
                <a:gd name="T43" fmla="*/ 15 h 42"/>
                <a:gd name="T44" fmla="*/ 171 w 246"/>
                <a:gd name="T45" fmla="*/ 15 h 42"/>
                <a:gd name="T46" fmla="*/ 168 w 246"/>
                <a:gd name="T47" fmla="*/ 14 h 42"/>
                <a:gd name="T48" fmla="*/ 167 w 246"/>
                <a:gd name="T49" fmla="*/ 12 h 42"/>
                <a:gd name="T50" fmla="*/ 159 w 246"/>
                <a:gd name="T51" fmla="*/ 16 h 42"/>
                <a:gd name="T52" fmla="*/ 152 w 246"/>
                <a:gd name="T53" fmla="*/ 17 h 42"/>
                <a:gd name="T54" fmla="*/ 147 w 246"/>
                <a:gd name="T55" fmla="*/ 17 h 42"/>
                <a:gd name="T56" fmla="*/ 141 w 246"/>
                <a:gd name="T57" fmla="*/ 15 h 42"/>
                <a:gd name="T58" fmla="*/ 137 w 246"/>
                <a:gd name="T59" fmla="*/ 12 h 42"/>
                <a:gd name="T60" fmla="*/ 133 w 246"/>
                <a:gd name="T61" fmla="*/ 9 h 42"/>
                <a:gd name="T62" fmla="*/ 129 w 246"/>
                <a:gd name="T63" fmla="*/ 5 h 42"/>
                <a:gd name="T64" fmla="*/ 126 w 246"/>
                <a:gd name="T65" fmla="*/ 0 h 42"/>
                <a:gd name="T66" fmla="*/ 121 w 246"/>
                <a:gd name="T67" fmla="*/ 2 h 42"/>
                <a:gd name="T68" fmla="*/ 113 w 246"/>
                <a:gd name="T69" fmla="*/ 4 h 42"/>
                <a:gd name="T70" fmla="*/ 103 w 246"/>
                <a:gd name="T71" fmla="*/ 5 h 42"/>
                <a:gd name="T72" fmla="*/ 93 w 246"/>
                <a:gd name="T73" fmla="*/ 5 h 42"/>
                <a:gd name="T74" fmla="*/ 74 w 246"/>
                <a:gd name="T75" fmla="*/ 6 h 42"/>
                <a:gd name="T76" fmla="*/ 60 w 246"/>
                <a:gd name="T77" fmla="*/ 6 h 42"/>
                <a:gd name="T78" fmla="*/ 58 w 246"/>
                <a:gd name="T79" fmla="*/ 9 h 42"/>
                <a:gd name="T80" fmla="*/ 56 w 246"/>
                <a:gd name="T81" fmla="*/ 12 h 42"/>
                <a:gd name="T82" fmla="*/ 54 w 246"/>
                <a:gd name="T83" fmla="*/ 15 h 42"/>
                <a:gd name="T84" fmla="*/ 50 w 246"/>
                <a:gd name="T85" fmla="*/ 17 h 42"/>
                <a:gd name="T86" fmla="*/ 42 w 246"/>
                <a:gd name="T87" fmla="*/ 20 h 42"/>
                <a:gd name="T88" fmla="*/ 33 w 246"/>
                <a:gd name="T89" fmla="*/ 22 h 42"/>
                <a:gd name="T90" fmla="*/ 14 w 246"/>
                <a:gd name="T91" fmla="*/ 24 h 42"/>
                <a:gd name="T92" fmla="*/ 0 w 246"/>
                <a:gd name="T93" fmla="*/ 24 h 42"/>
                <a:gd name="T94" fmla="*/ 1 w 246"/>
                <a:gd name="T95" fmla="*/ 27 h 42"/>
                <a:gd name="T96" fmla="*/ 3 w 246"/>
                <a:gd name="T97" fmla="*/ 29 h 42"/>
                <a:gd name="T98" fmla="*/ 5 w 246"/>
                <a:gd name="T99" fmla="*/ 31 h 42"/>
                <a:gd name="T100" fmla="*/ 9 w 246"/>
                <a:gd name="T101" fmla="*/ 33 h 42"/>
                <a:gd name="T102" fmla="*/ 17 w 246"/>
                <a:gd name="T103" fmla="*/ 35 h 42"/>
                <a:gd name="T104" fmla="*/ 27 w 246"/>
                <a:gd name="T105" fmla="*/ 36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0" name="Freeform 549">
              <a:extLst>
                <a:ext uri="{FF2B5EF4-FFF2-40B4-BE49-F238E27FC236}">
                  <a16:creationId xmlns="" xmlns:a16="http://schemas.microsoft.com/office/drawing/2014/main" id="{8D7E77E1-7BDE-8B4D-8259-F8F78868180B}"/>
                </a:ext>
              </a:extLst>
            </p:cNvPr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5046663" y="1430338"/>
              <a:ext cx="63500" cy="57150"/>
            </a:xfrm>
            <a:custGeom>
              <a:avLst/>
              <a:gdLst>
                <a:gd name="T0" fmla="*/ 103 w 149"/>
                <a:gd name="T1" fmla="*/ 0 h 61"/>
                <a:gd name="T2" fmla="*/ 118 w 149"/>
                <a:gd name="T3" fmla="*/ 1 h 61"/>
                <a:gd name="T4" fmla="*/ 134 w 149"/>
                <a:gd name="T5" fmla="*/ 3 h 61"/>
                <a:gd name="T6" fmla="*/ 145 w 149"/>
                <a:gd name="T7" fmla="*/ 5 h 61"/>
                <a:gd name="T8" fmla="*/ 149 w 149"/>
                <a:gd name="T9" fmla="*/ 6 h 61"/>
                <a:gd name="T10" fmla="*/ 149 w 149"/>
                <a:gd name="T11" fmla="*/ 8 h 61"/>
                <a:gd name="T12" fmla="*/ 147 w 149"/>
                <a:gd name="T13" fmla="*/ 10 h 61"/>
                <a:gd name="T14" fmla="*/ 145 w 149"/>
                <a:gd name="T15" fmla="*/ 12 h 61"/>
                <a:gd name="T16" fmla="*/ 141 w 149"/>
                <a:gd name="T17" fmla="*/ 13 h 61"/>
                <a:gd name="T18" fmla="*/ 137 w 149"/>
                <a:gd name="T19" fmla="*/ 14 h 61"/>
                <a:gd name="T20" fmla="*/ 132 w 149"/>
                <a:gd name="T21" fmla="*/ 14 h 61"/>
                <a:gd name="T22" fmla="*/ 127 w 149"/>
                <a:gd name="T23" fmla="*/ 14 h 61"/>
                <a:gd name="T24" fmla="*/ 123 w 149"/>
                <a:gd name="T25" fmla="*/ 12 h 61"/>
                <a:gd name="T26" fmla="*/ 123 w 149"/>
                <a:gd name="T27" fmla="*/ 23 h 61"/>
                <a:gd name="T28" fmla="*/ 123 w 149"/>
                <a:gd name="T29" fmla="*/ 33 h 61"/>
                <a:gd name="T30" fmla="*/ 123 w 149"/>
                <a:gd name="T31" fmla="*/ 41 h 61"/>
                <a:gd name="T32" fmla="*/ 123 w 149"/>
                <a:gd name="T33" fmla="*/ 49 h 61"/>
                <a:gd name="T34" fmla="*/ 116 w 149"/>
                <a:gd name="T35" fmla="*/ 50 h 61"/>
                <a:gd name="T36" fmla="*/ 109 w 149"/>
                <a:gd name="T37" fmla="*/ 51 h 61"/>
                <a:gd name="T38" fmla="*/ 104 w 149"/>
                <a:gd name="T39" fmla="*/ 53 h 61"/>
                <a:gd name="T40" fmla="*/ 100 w 149"/>
                <a:gd name="T41" fmla="*/ 55 h 61"/>
                <a:gd name="T42" fmla="*/ 94 w 149"/>
                <a:gd name="T43" fmla="*/ 57 h 61"/>
                <a:gd name="T44" fmla="*/ 89 w 149"/>
                <a:gd name="T45" fmla="*/ 59 h 61"/>
                <a:gd name="T46" fmla="*/ 83 w 149"/>
                <a:gd name="T47" fmla="*/ 61 h 61"/>
                <a:gd name="T48" fmla="*/ 76 w 149"/>
                <a:gd name="T49" fmla="*/ 61 h 61"/>
                <a:gd name="T50" fmla="*/ 67 w 149"/>
                <a:gd name="T51" fmla="*/ 60 h 61"/>
                <a:gd name="T52" fmla="*/ 53 w 149"/>
                <a:gd name="T53" fmla="*/ 57 h 61"/>
                <a:gd name="T54" fmla="*/ 39 w 149"/>
                <a:gd name="T55" fmla="*/ 54 h 61"/>
                <a:gd name="T56" fmla="*/ 25 w 149"/>
                <a:gd name="T57" fmla="*/ 49 h 61"/>
                <a:gd name="T58" fmla="*/ 12 w 149"/>
                <a:gd name="T59" fmla="*/ 45 h 61"/>
                <a:gd name="T60" fmla="*/ 3 w 149"/>
                <a:gd name="T61" fmla="*/ 41 h 61"/>
                <a:gd name="T62" fmla="*/ 1 w 149"/>
                <a:gd name="T63" fmla="*/ 39 h 61"/>
                <a:gd name="T64" fmla="*/ 0 w 149"/>
                <a:gd name="T65" fmla="*/ 38 h 61"/>
                <a:gd name="T66" fmla="*/ 0 w 149"/>
                <a:gd name="T67" fmla="*/ 37 h 61"/>
                <a:gd name="T68" fmla="*/ 3 w 149"/>
                <a:gd name="T69" fmla="*/ 37 h 61"/>
                <a:gd name="T70" fmla="*/ 19 w 149"/>
                <a:gd name="T71" fmla="*/ 36 h 61"/>
                <a:gd name="T72" fmla="*/ 35 w 149"/>
                <a:gd name="T73" fmla="*/ 35 h 61"/>
                <a:gd name="T74" fmla="*/ 48 w 149"/>
                <a:gd name="T75" fmla="*/ 32 h 61"/>
                <a:gd name="T76" fmla="*/ 60 w 149"/>
                <a:gd name="T77" fmla="*/ 27 h 61"/>
                <a:gd name="T78" fmla="*/ 72 w 149"/>
                <a:gd name="T79" fmla="*/ 22 h 61"/>
                <a:gd name="T80" fmla="*/ 82 w 149"/>
                <a:gd name="T81" fmla="*/ 16 h 61"/>
                <a:gd name="T82" fmla="*/ 93 w 149"/>
                <a:gd name="T83" fmla="*/ 8 h 61"/>
                <a:gd name="T84" fmla="*/ 103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1" name="Freeform 550">
              <a:extLst>
                <a:ext uri="{FF2B5EF4-FFF2-40B4-BE49-F238E27FC236}">
                  <a16:creationId xmlns="" xmlns:a16="http://schemas.microsoft.com/office/drawing/2014/main" id="{325119B9-C678-4B40-AD47-2812797C8F42}"/>
                </a:ext>
              </a:extLst>
            </p:cNvPr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5083175" y="1438275"/>
              <a:ext cx="130175" cy="57150"/>
            </a:xfrm>
            <a:custGeom>
              <a:avLst/>
              <a:gdLst>
                <a:gd name="T0" fmla="*/ 133 w 299"/>
                <a:gd name="T1" fmla="*/ 72 h 74"/>
                <a:gd name="T2" fmla="*/ 154 w 299"/>
                <a:gd name="T3" fmla="*/ 65 h 74"/>
                <a:gd name="T4" fmla="*/ 178 w 299"/>
                <a:gd name="T5" fmla="*/ 54 h 74"/>
                <a:gd name="T6" fmla="*/ 199 w 299"/>
                <a:gd name="T7" fmla="*/ 42 h 74"/>
                <a:gd name="T8" fmla="*/ 207 w 299"/>
                <a:gd name="T9" fmla="*/ 40 h 74"/>
                <a:gd name="T10" fmla="*/ 211 w 299"/>
                <a:gd name="T11" fmla="*/ 46 h 74"/>
                <a:gd name="T12" fmla="*/ 220 w 299"/>
                <a:gd name="T13" fmla="*/ 51 h 74"/>
                <a:gd name="T14" fmla="*/ 243 w 299"/>
                <a:gd name="T15" fmla="*/ 55 h 74"/>
                <a:gd name="T16" fmla="*/ 269 w 299"/>
                <a:gd name="T17" fmla="*/ 55 h 74"/>
                <a:gd name="T18" fmla="*/ 286 w 299"/>
                <a:gd name="T19" fmla="*/ 55 h 74"/>
                <a:gd name="T20" fmla="*/ 293 w 299"/>
                <a:gd name="T21" fmla="*/ 46 h 74"/>
                <a:gd name="T22" fmla="*/ 298 w 299"/>
                <a:gd name="T23" fmla="*/ 31 h 74"/>
                <a:gd name="T24" fmla="*/ 279 w 299"/>
                <a:gd name="T25" fmla="*/ 25 h 74"/>
                <a:gd name="T26" fmla="*/ 244 w 299"/>
                <a:gd name="T27" fmla="*/ 25 h 74"/>
                <a:gd name="T28" fmla="*/ 225 w 299"/>
                <a:gd name="T29" fmla="*/ 25 h 74"/>
                <a:gd name="T30" fmla="*/ 214 w 299"/>
                <a:gd name="T31" fmla="*/ 27 h 74"/>
                <a:gd name="T32" fmla="*/ 204 w 299"/>
                <a:gd name="T33" fmla="*/ 33 h 74"/>
                <a:gd name="T34" fmla="*/ 172 w 299"/>
                <a:gd name="T35" fmla="*/ 37 h 74"/>
                <a:gd name="T36" fmla="*/ 176 w 299"/>
                <a:gd name="T37" fmla="*/ 28 h 74"/>
                <a:gd name="T38" fmla="*/ 180 w 299"/>
                <a:gd name="T39" fmla="*/ 21 h 74"/>
                <a:gd name="T40" fmla="*/ 194 w 299"/>
                <a:gd name="T41" fmla="*/ 13 h 74"/>
                <a:gd name="T42" fmla="*/ 210 w 299"/>
                <a:gd name="T43" fmla="*/ 9 h 74"/>
                <a:gd name="T44" fmla="*/ 225 w 299"/>
                <a:gd name="T45" fmla="*/ 0 h 74"/>
                <a:gd name="T46" fmla="*/ 185 w 299"/>
                <a:gd name="T47" fmla="*/ 3 h 74"/>
                <a:gd name="T48" fmla="*/ 157 w 299"/>
                <a:gd name="T49" fmla="*/ 11 h 74"/>
                <a:gd name="T50" fmla="*/ 134 w 299"/>
                <a:gd name="T51" fmla="*/ 25 h 74"/>
                <a:gd name="T52" fmla="*/ 114 w 299"/>
                <a:gd name="T53" fmla="*/ 40 h 74"/>
                <a:gd name="T54" fmla="*/ 100 w 299"/>
                <a:gd name="T55" fmla="*/ 53 h 74"/>
                <a:gd name="T56" fmla="*/ 87 w 299"/>
                <a:gd name="T57" fmla="*/ 59 h 74"/>
                <a:gd name="T58" fmla="*/ 64 w 299"/>
                <a:gd name="T59" fmla="*/ 63 h 74"/>
                <a:gd name="T60" fmla="*/ 32 w 299"/>
                <a:gd name="T61" fmla="*/ 64 h 74"/>
                <a:gd name="T62" fmla="*/ 12 w 299"/>
                <a:gd name="T63" fmla="*/ 67 h 74"/>
                <a:gd name="T64" fmla="*/ 2 w 299"/>
                <a:gd name="T65" fmla="*/ 70 h 74"/>
                <a:gd name="T66" fmla="*/ 39 w 299"/>
                <a:gd name="T67" fmla="*/ 74 h 74"/>
                <a:gd name="T68" fmla="*/ 102 w 299"/>
                <a:gd name="T69" fmla="*/ 74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72" name="Rectangle 548">
              <a:extLst>
                <a:ext uri="{FF2B5EF4-FFF2-40B4-BE49-F238E27FC236}">
                  <a16:creationId xmlns="" xmlns:a16="http://schemas.microsoft.com/office/drawing/2014/main" id="{DCFC683C-2E1C-4248-A0D9-C3D54FA289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92663" y="2362200"/>
              <a:ext cx="941388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Assiut, Egypt</a:t>
              </a:r>
            </a:p>
          </p:txBody>
        </p:sp>
        <p:sp>
          <p:nvSpPr>
            <p:cNvPr id="573" name="Rectangle 549">
              <a:extLst>
                <a:ext uri="{FF2B5EF4-FFF2-40B4-BE49-F238E27FC236}">
                  <a16:creationId xmlns="" xmlns:a16="http://schemas.microsoft.com/office/drawing/2014/main" id="{AF73CC2E-1151-6B49-A8D8-B0266552A7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98675" y="2209800"/>
              <a:ext cx="1330325" cy="298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Baltimore, USA</a:t>
              </a:r>
            </a:p>
          </p:txBody>
        </p:sp>
        <p:sp>
          <p:nvSpPr>
            <p:cNvPr id="574" name="Rectangle 550">
              <a:extLst>
                <a:ext uri="{FF2B5EF4-FFF2-40B4-BE49-F238E27FC236}">
                  <a16:creationId xmlns="" xmlns:a16="http://schemas.microsoft.com/office/drawing/2014/main" id="{561B3487-42F3-6144-A18F-A0B586286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0763" y="3352800"/>
              <a:ext cx="935036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Ile-Ife, Nigeria </a:t>
              </a:r>
              <a:endParaRPr lang="en-US" altLang="en-US" sz="9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75" name="Rectangle 551">
              <a:extLst>
                <a:ext uri="{FF2B5EF4-FFF2-40B4-BE49-F238E27FC236}">
                  <a16:creationId xmlns="" xmlns:a16="http://schemas.microsoft.com/office/drawing/2014/main" id="{889C13CE-6A6E-8B44-A524-E1EB566FE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76800" y="3124199"/>
              <a:ext cx="788004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Nairobi, </a:t>
              </a:r>
            </a:p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Kenya</a:t>
              </a:r>
            </a:p>
          </p:txBody>
        </p:sp>
        <p:sp>
          <p:nvSpPr>
            <p:cNvPr id="576" name="Rectangle 552">
              <a:extLst>
                <a:ext uri="{FF2B5EF4-FFF2-40B4-BE49-F238E27FC236}">
                  <a16:creationId xmlns="" xmlns:a16="http://schemas.microsoft.com/office/drawing/2014/main" id="{CCDF3822-852E-0B4D-B945-F6FC8E9F91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73875" y="2209800"/>
              <a:ext cx="939927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 Shanghai, </a:t>
              </a:r>
            </a:p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China</a:t>
              </a:r>
            </a:p>
          </p:txBody>
        </p:sp>
        <p:sp>
          <p:nvSpPr>
            <p:cNvPr id="577" name="Rectangle 553">
              <a:extLst>
                <a:ext uri="{FF2B5EF4-FFF2-40B4-BE49-F238E27FC236}">
                  <a16:creationId xmlns="" xmlns:a16="http://schemas.microsoft.com/office/drawing/2014/main" id="{4804F1A6-323E-D147-8440-43B2E85002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4526" y="2782888"/>
              <a:ext cx="941926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New Delhi,</a:t>
              </a:r>
            </a:p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 India</a:t>
              </a:r>
              <a:endParaRPr lang="en-US" altLang="en-US" sz="90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78" name="Rectangle 554">
              <a:extLst>
                <a:ext uri="{FF2B5EF4-FFF2-40B4-BE49-F238E27FC236}">
                  <a16:creationId xmlns="" xmlns:a16="http://schemas.microsoft.com/office/drawing/2014/main" id="{2296DB98-D60C-9E4C-82B9-F85CB22E9A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1838" y="4657726"/>
              <a:ext cx="1061866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GB" altLang="en-US" sz="900">
                  <a:solidFill>
                    <a:srgbClr val="113951"/>
                  </a:solidFill>
                  <a:latin typeface="Avenir Roman" panose="02000503020000020003" pitchFamily="2" charset="0"/>
                </a:rPr>
                <a:t>Cape Town, </a:t>
              </a:r>
            </a:p>
            <a:p>
              <a:pPr eaLnBrk="1" hangingPunct="1"/>
              <a:r>
                <a:rPr lang="en-GB" altLang="en-US" sz="900">
                  <a:solidFill>
                    <a:srgbClr val="113951"/>
                  </a:solidFill>
                  <a:latin typeface="Avenir Roman" panose="02000503020000020003" pitchFamily="2" charset="0"/>
                </a:rPr>
                <a:t>South Africa </a:t>
              </a:r>
              <a:endParaRPr lang="en-US" altLang="en-US" sz="90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79" name="Rectangle 556">
              <a:extLst>
                <a:ext uri="{FF2B5EF4-FFF2-40B4-BE49-F238E27FC236}">
                  <a16:creationId xmlns="" xmlns:a16="http://schemas.microsoft.com/office/drawing/2014/main" id="{9AC86922-D19B-454F-AAC6-0417BD6F0D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1888" y="3886200"/>
              <a:ext cx="837979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Blantyre, </a:t>
              </a:r>
            </a:p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Malawi</a:t>
              </a:r>
            </a:p>
          </p:txBody>
        </p:sp>
        <p:sp>
          <p:nvSpPr>
            <p:cNvPr id="580" name="Rectangle 559">
              <a:extLst>
                <a:ext uri="{FF2B5EF4-FFF2-40B4-BE49-F238E27FC236}">
                  <a16:creationId xmlns="" xmlns:a16="http://schemas.microsoft.com/office/drawing/2014/main" id="{F7BEBF1E-3575-654D-9E74-33CE5E28F5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088" y="1295400"/>
              <a:ext cx="983906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GB" altLang="en-US" sz="900">
                  <a:solidFill>
                    <a:srgbClr val="113951"/>
                  </a:solidFill>
                  <a:latin typeface="Avenir Roman" panose="02000503020000020003" pitchFamily="2" charset="0"/>
                </a:rPr>
                <a:t>Edinburgh, </a:t>
              </a:r>
            </a:p>
            <a:p>
              <a:pPr eaLnBrk="1" hangingPunct="1"/>
              <a:r>
                <a:rPr lang="en-GB" altLang="en-US" sz="900">
                  <a:solidFill>
                    <a:srgbClr val="113951"/>
                  </a:solidFill>
                  <a:latin typeface="Avenir Roman" panose="02000503020000020003" pitchFamily="2" charset="0"/>
                </a:rPr>
                <a:t>Scotland</a:t>
              </a:r>
              <a:endParaRPr lang="en-US" altLang="en-US" sz="90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81" name="Rectangle 560">
              <a:extLst>
                <a:ext uri="{FF2B5EF4-FFF2-40B4-BE49-F238E27FC236}">
                  <a16:creationId xmlns="" xmlns:a16="http://schemas.microsoft.com/office/drawing/2014/main" id="{EACDD7A9-1084-1A4F-A073-560C47EB15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1937" y="1831975"/>
              <a:ext cx="758019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GB" altLang="en-US" sz="9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Ghent</a:t>
              </a:r>
            </a:p>
            <a:p>
              <a:pPr eaLnBrk="1" hangingPunct="1"/>
              <a:r>
                <a:rPr lang="en-GB" altLang="en-US" sz="900" dirty="0">
                  <a:solidFill>
                    <a:srgbClr val="113951"/>
                  </a:solidFill>
                  <a:latin typeface="Avenir Roman" panose="02000503020000020003" pitchFamily="2" charset="0"/>
                </a:rPr>
                <a:t>Belgium</a:t>
              </a:r>
              <a:endParaRPr lang="en-US" altLang="en-US" sz="9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82" name="Rectangle 561">
              <a:extLst>
                <a:ext uri="{FF2B5EF4-FFF2-40B4-BE49-F238E27FC236}">
                  <a16:creationId xmlns="" xmlns:a16="http://schemas.microsoft.com/office/drawing/2014/main" id="{33A9C81E-E896-9042-9DC9-2D228E4B3F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3825" y="4306888"/>
              <a:ext cx="1577974" cy="298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Cochabamba, Bolivia</a:t>
              </a:r>
              <a:endParaRPr lang="en-US" altLang="en-US" sz="9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83" name="Rectangle 562">
              <a:extLst>
                <a:ext uri="{FF2B5EF4-FFF2-40B4-BE49-F238E27FC236}">
                  <a16:creationId xmlns="" xmlns:a16="http://schemas.microsoft.com/office/drawing/2014/main" id="{3DE08FDD-9E00-6F4A-8E6F-75686147C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9025" y="3424238"/>
              <a:ext cx="1577974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Cuenca,</a:t>
              </a:r>
            </a:p>
            <a:p>
              <a:pPr eaLnBrk="1" hangingPunct="1"/>
              <a:r>
                <a:rPr lang="en-US" altLang="en-US" sz="9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Ecuador</a:t>
              </a:r>
              <a:endParaRPr lang="en-US" altLang="en-US" sz="9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84" name="Rectangle 563">
              <a:extLst>
                <a:ext uri="{FF2B5EF4-FFF2-40B4-BE49-F238E27FC236}">
                  <a16:creationId xmlns="" xmlns:a16="http://schemas.microsoft.com/office/drawing/2014/main" id="{4F2613FF-EA82-DB42-A179-76834398BD0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33800" y="3886200"/>
              <a:ext cx="1171575" cy="298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Kinshasa, DRC</a:t>
              </a:r>
              <a:endParaRPr lang="en-US" altLang="en-US" sz="90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85" name="Rectangle 564">
              <a:extLst>
                <a:ext uri="{FF2B5EF4-FFF2-40B4-BE49-F238E27FC236}">
                  <a16:creationId xmlns="" xmlns:a16="http://schemas.microsoft.com/office/drawing/2014/main" id="{CF21B769-C7CB-064C-AF5E-0B3B88CEA4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4600" y="2782888"/>
              <a:ext cx="1681163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 dirty="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Ouagadougou, Burkina Faso</a:t>
              </a:r>
              <a:endParaRPr lang="en-US" altLang="en-US" sz="900" dirty="0">
                <a:solidFill>
                  <a:srgbClr val="113951"/>
                </a:solidFill>
                <a:latin typeface="Avenir Roman" panose="02000503020000020003" pitchFamily="2" charset="0"/>
              </a:endParaRPr>
            </a:p>
          </p:txBody>
        </p:sp>
        <p:sp>
          <p:nvSpPr>
            <p:cNvPr id="586" name="Rectangle 565">
              <a:extLst>
                <a:ext uri="{FF2B5EF4-FFF2-40B4-BE49-F238E27FC236}">
                  <a16:creationId xmlns="" xmlns:a16="http://schemas.microsoft.com/office/drawing/2014/main" id="{AA04A2B9-7877-BD40-9203-05BE43B7E6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29400" y="3124199"/>
              <a:ext cx="758019" cy="4770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Hanoi, </a:t>
              </a:r>
            </a:p>
            <a:p>
              <a:pPr eaLnBrk="1" hangingPunct="1"/>
              <a:r>
                <a:rPr lang="en-US" altLang="en-US" sz="900">
                  <a:solidFill>
                    <a:srgbClr val="113951"/>
                  </a:solidFill>
                  <a:latin typeface="Avenir Roman" panose="02000503020000020003" pitchFamily="2" charset="0"/>
                  <a:ea typeface="ＭＳ Ｐゴシック" panose="020B0600070205080204" pitchFamily="34" charset="-128"/>
                </a:rPr>
                <a:t>Vietnam</a:t>
              </a:r>
            </a:p>
          </p:txBody>
        </p:sp>
      </p:grpSp>
      <p:sp>
        <p:nvSpPr>
          <p:cNvPr id="587" name="TextBox 586">
            <a:extLst>
              <a:ext uri="{FF2B5EF4-FFF2-40B4-BE49-F238E27FC236}">
                <a16:creationId xmlns="" xmlns:a16="http://schemas.microsoft.com/office/drawing/2014/main" id="{197B1F91-9341-8044-B8A4-E7C3947DEB7A}"/>
              </a:ext>
            </a:extLst>
          </p:cNvPr>
          <p:cNvSpPr txBox="1"/>
          <p:nvPr/>
        </p:nvSpPr>
        <p:spPr>
          <a:xfrm>
            <a:off x="3260896" y="3733800"/>
            <a:ext cx="6111704" cy="32701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defRPr/>
            </a:pPr>
            <a:r>
              <a:rPr lang="en-US" b="1" dirty="0">
                <a:solidFill>
                  <a:srgbClr val="113951"/>
                </a:solidFill>
                <a:latin typeface="Avenir Roman" panose="02000503020000020003" pitchFamily="2" charset="0"/>
              </a:rPr>
              <a:t>Formative, mixed-methods research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Based on qualitative data collection as basis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Narrative interviews of </a:t>
            </a: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35 adolescent-parent </a:t>
            </a:r>
            <a:r>
              <a:rPr lang="en-US" dirty="0" err="1" smtClean="0">
                <a:solidFill>
                  <a:srgbClr val="113951"/>
                </a:solidFill>
                <a:latin typeface="Avenir Roman" panose="02000503020000020003" pitchFamily="2" charset="0"/>
              </a:rPr>
              <a:t>diads</a:t>
            </a: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 in each country </a:t>
            </a:r>
          </a:p>
          <a:p>
            <a:pPr marL="800100" lvl="1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rgbClr val="113951"/>
                </a:solidFill>
                <a:latin typeface="Avenir Roman" panose="02000503020000020003" pitchFamily="2" charset="0"/>
              </a:rPr>
              <a:t>Timeline activities exploring age of anticipated events</a:t>
            </a:r>
            <a:endParaRPr lang="en-US" dirty="0">
              <a:solidFill>
                <a:srgbClr val="113951"/>
              </a:solidFill>
              <a:latin typeface="Avenir Roman" panose="02000503020000020003" pitchFamily="2" charset="0"/>
            </a:endParaRP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Face validity testing</a:t>
            </a:r>
          </a:p>
          <a:p>
            <a:pPr marL="342900" indent="-342900" eaLnBrk="1" fontAlgn="auto" hangingPunct="1">
              <a:spcBef>
                <a:spcPts val="0"/>
              </a:spcBef>
              <a:spcAft>
                <a:spcPts val="1500"/>
              </a:spcAft>
              <a:buClr>
                <a:schemeClr val="tx1">
                  <a:lumMod val="85000"/>
                  <a:lumOff val="15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rgbClr val="113951"/>
                </a:solidFill>
                <a:latin typeface="Avenir Roman" panose="02000503020000020003" pitchFamily="2" charset="0"/>
              </a:rPr>
              <a:t>2 rounds of pilot testing of instruments</a:t>
            </a:r>
          </a:p>
        </p:txBody>
      </p:sp>
    </p:spTree>
    <p:extLst>
      <p:ext uri="{BB962C8B-B14F-4D97-AF65-F5344CB8AC3E}">
        <p14:creationId xmlns:p14="http://schemas.microsoft.com/office/powerpoint/2010/main" val="2920057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A145F7D1E0524D97A27BF7B928F430" ma:contentTypeVersion="1" ma:contentTypeDescription="Create a new document." ma:contentTypeScope="" ma:versionID="f59f95e2d69ce2553d88ea176380fd80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a447206dab0015f8b9f8924535193e8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32BCD4F-77D5-42B6-B911-6551807CC085}">
  <ds:schemaRefs>
    <ds:schemaRef ds:uri="http://schemas.microsoft.com/office/2006/metadata/properties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8E23659A-4498-4D2B-B91D-577D87BE77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932F37A-AF91-4636-A8E5-C04986AF562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71</TotalTime>
  <Words>1639</Words>
  <Application>Microsoft Macintosh PowerPoint</Application>
  <PresentationFormat>On-screen Show (4:3)</PresentationFormat>
  <Paragraphs>399</Paragraphs>
  <Slides>25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4" baseType="lpstr">
      <vt:lpstr>Avenir Book</vt:lpstr>
      <vt:lpstr>Avenir Roman</vt:lpstr>
      <vt:lpstr>Bookman Old Style</vt:lpstr>
      <vt:lpstr>Calibri</vt:lpstr>
      <vt:lpstr>Calibri Light</vt:lpstr>
      <vt:lpstr>ＭＳ Ｐゴシック</vt:lpstr>
      <vt:lpstr>Times New Roman</vt:lpstr>
      <vt:lpstr>Arial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   Empowerment</vt:lpstr>
      <vt:lpstr>PowerPoint Presentation</vt:lpstr>
      <vt:lpstr>Methodology and Results</vt:lpstr>
      <vt:lpstr>Data</vt:lpstr>
      <vt:lpstr>Measure Selection</vt:lpstr>
      <vt:lpstr>Three Dimensions of Empowerment for Early Adolescents</vt:lpstr>
      <vt:lpstr>Measures – Economic Empowerment</vt:lpstr>
      <vt:lpstr>Economic Empowerment</vt:lpstr>
      <vt:lpstr>Discussion</vt:lpstr>
      <vt:lpstr>Discussion</vt:lpstr>
      <vt:lpstr>The GEAS Partners:</vt:lpstr>
      <vt:lpstr>Thank you! </vt:lpstr>
    </vt:vector>
  </TitlesOfParts>
  <LinksUpToDate>false</LinksUpToDate>
  <SharedDoc>false</SharedDoc>
  <HyperlinkBase/>
  <HyperlinksChanged>false</HyperlinksChanged>
  <AppVersion>15.003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hns Hopkins University Template</dc:title>
  <dc:creator>Davvi Chrzastek</dc:creator>
  <cp:lastModifiedBy>Robert Blum</cp:lastModifiedBy>
  <cp:revision>870</cp:revision>
  <cp:lastPrinted>2015-10-26T19:30:13Z</cp:lastPrinted>
  <dcterms:created xsi:type="dcterms:W3CDTF">2015-12-28T21:29:31Z</dcterms:created>
  <dcterms:modified xsi:type="dcterms:W3CDTF">2018-10-11T13:4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A145F7D1E0524D97A27BF7B928F430</vt:lpwstr>
  </property>
</Properties>
</file>